
<file path=[Content_Types].xml><?xml version="1.0" encoding="utf-8"?>
<Types xmlns="http://schemas.openxmlformats.org/package/2006/content-types">
  <Default Extension="bin" ContentType="application/vnd.openxmlformats-officedocument.oleObject"/>
  <Default Extension="bmp" ContentType="image/bmp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7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1"/>
    <p:sldMasterId id="2147484806" r:id="rId2"/>
    <p:sldMasterId id="2147484868" r:id="rId3"/>
    <p:sldMasterId id="2147484916" r:id="rId4"/>
    <p:sldMasterId id="2147485021" r:id="rId5"/>
    <p:sldMasterId id="2147485040" r:id="rId6"/>
    <p:sldMasterId id="2147485056" r:id="rId7"/>
    <p:sldMasterId id="2147485122" r:id="rId8"/>
  </p:sldMasterIdLst>
  <p:notesMasterIdLst>
    <p:notesMasterId r:id="rId23"/>
  </p:notesMasterIdLst>
  <p:sldIdLst>
    <p:sldId id="1025" r:id="rId9"/>
    <p:sldId id="1947" r:id="rId10"/>
    <p:sldId id="1959" r:id="rId11"/>
    <p:sldId id="1953" r:id="rId12"/>
    <p:sldId id="1950" r:id="rId13"/>
    <p:sldId id="1952" r:id="rId14"/>
    <p:sldId id="1962" r:id="rId15"/>
    <p:sldId id="1963" r:id="rId16"/>
    <p:sldId id="1954" r:id="rId17"/>
    <p:sldId id="1966" r:id="rId18"/>
    <p:sldId id="1967" r:id="rId19"/>
    <p:sldId id="1955" r:id="rId20"/>
    <p:sldId id="1956" r:id="rId21"/>
    <p:sldId id="1965" r:id="rId22"/>
  </p:sldIdLst>
  <p:sldSz cx="9144000" cy="6858000" type="screen4x3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yner, Josh" initials="WJ" lastIdx="5" clrIdx="0"/>
  <p:cmAuthor id="1" name="Keith" initials="K" lastIdx="2" clrIdx="1"/>
  <p:cmAuthor id="2" name="Linda Perlstein" initials="" lastIdx="10" clrIdx="2"/>
  <p:cmAuthor id="3" name="Bridget DeSimone" initials="BD" lastIdx="6" clrIdx="3"/>
  <p:cmAuthor id="4" name="Arsenault, Leigh" initials="AL" lastIdx="2" clrIdx="4"/>
  <p:cmAuthor id="5" name="Kelley Karandjeff" initials="KK" lastIdx="1" clrIdx="5">
    <p:extLst>
      <p:ext uri="{19B8F6BF-5375-455C-9EA6-DF929625EA0E}">
        <p15:presenceInfo xmlns:p15="http://schemas.microsoft.com/office/powerpoint/2012/main" userId="995163bab1a338f3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C7D88"/>
    <a:srgbClr val="0989B1"/>
    <a:srgbClr val="4AB5C4"/>
    <a:srgbClr val="0354A0"/>
    <a:srgbClr val="91E5B3"/>
    <a:srgbClr val="9CFAC5"/>
    <a:srgbClr val="72CDF4"/>
    <a:srgbClr val="99D625"/>
    <a:srgbClr val="FFE200"/>
    <a:srgbClr val="FFB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2DFD06F-A751-4F80-8853-DDC3B0F1A7D3}" v="3" dt="2020-06-23T01:28:10.79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3" autoAdjust="0"/>
    <p:restoredTop sz="93792" autoAdjust="0"/>
  </p:normalViewPr>
  <p:slideViewPr>
    <p:cSldViewPr snapToGrid="0">
      <p:cViewPr varScale="1">
        <p:scale>
          <a:sx n="63" d="100"/>
          <a:sy n="63" d="100"/>
        </p:scale>
        <p:origin x="1220" y="8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320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7808"/>
    </p:cViewPr>
  </p:sorterViewPr>
  <p:notesViewPr>
    <p:cSldViewPr>
      <p:cViewPr varScale="1">
        <p:scale>
          <a:sx n="84" d="100"/>
          <a:sy n="84" d="100"/>
        </p:scale>
        <p:origin x="-1884" y="-78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bert Johnstone" userId="cb449c38944dd802" providerId="LiveId" clId="{6092651F-E4ED-40C7-8FF7-0BF7221E352E}"/>
    <pc:docChg chg="custSel modSld">
      <pc:chgData name="Robert Johnstone" userId="cb449c38944dd802" providerId="LiveId" clId="{6092651F-E4ED-40C7-8FF7-0BF7221E352E}" dt="2020-04-01T19:14:32.297" v="25" actId="27636"/>
      <pc:docMkLst>
        <pc:docMk/>
      </pc:docMkLst>
      <pc:sldChg chg="modSp">
        <pc:chgData name="Robert Johnstone" userId="cb449c38944dd802" providerId="LiveId" clId="{6092651F-E4ED-40C7-8FF7-0BF7221E352E}" dt="2020-04-01T19:14:32.297" v="25" actId="27636"/>
        <pc:sldMkLst>
          <pc:docMk/>
          <pc:sldMk cId="3460815143" sldId="1962"/>
        </pc:sldMkLst>
        <pc:spChg chg="mod">
          <ac:chgData name="Robert Johnstone" userId="cb449c38944dd802" providerId="LiveId" clId="{6092651F-E4ED-40C7-8FF7-0BF7221E352E}" dt="2020-04-01T19:14:32.297" v="25" actId="27636"/>
          <ac:spMkLst>
            <pc:docMk/>
            <pc:sldMk cId="3460815143" sldId="1962"/>
            <ac:spMk id="3" creationId="{84B0A658-148F-1A40-9016-484DCCC34CEC}"/>
          </ac:spMkLst>
        </pc:spChg>
      </pc:sldChg>
    </pc:docChg>
  </pc:docChgLst>
  <pc:docChgLst>
    <pc:chgData name="Robert Johnstone" userId="cb449c38944dd802" providerId="LiveId" clId="{D2DFD06F-A751-4F80-8853-DDC3B0F1A7D3}"/>
    <pc:docChg chg="custSel modSld">
      <pc:chgData name="Robert Johnstone" userId="cb449c38944dd802" providerId="LiveId" clId="{D2DFD06F-A751-4F80-8853-DDC3B0F1A7D3}" dt="2020-06-23T01:28:09.420" v="64" actId="20577"/>
      <pc:docMkLst>
        <pc:docMk/>
      </pc:docMkLst>
      <pc:sldChg chg="modSp mod">
        <pc:chgData name="Robert Johnstone" userId="cb449c38944dd802" providerId="LiveId" clId="{D2DFD06F-A751-4F80-8853-DDC3B0F1A7D3}" dt="2020-06-23T01:28:09.420" v="64" actId="20577"/>
        <pc:sldMkLst>
          <pc:docMk/>
          <pc:sldMk cId="2539340765" sldId="1025"/>
        </pc:sldMkLst>
        <pc:spChg chg="mod">
          <ac:chgData name="Robert Johnstone" userId="cb449c38944dd802" providerId="LiveId" clId="{D2DFD06F-A751-4F80-8853-DDC3B0F1A7D3}" dt="2020-06-23T01:28:09.420" v="64" actId="20577"/>
          <ac:spMkLst>
            <pc:docMk/>
            <pc:sldMk cId="2539340765" sldId="1025"/>
            <ac:spMk id="3" creationId="{00000000-0000-0000-0000-000000000000}"/>
          </ac:spMkLst>
        </pc:spChg>
      </pc:sldChg>
      <pc:sldChg chg="modSp mod">
        <pc:chgData name="Robert Johnstone" userId="cb449c38944dd802" providerId="LiveId" clId="{D2DFD06F-A751-4F80-8853-DDC3B0F1A7D3}" dt="2020-06-22T13:03:01.145" v="61" actId="20577"/>
        <pc:sldMkLst>
          <pc:docMk/>
          <pc:sldMk cId="128915136" sldId="1947"/>
        </pc:sldMkLst>
        <pc:spChg chg="mod">
          <ac:chgData name="Robert Johnstone" userId="cb449c38944dd802" providerId="LiveId" clId="{D2DFD06F-A751-4F80-8853-DDC3B0F1A7D3}" dt="2020-06-22T13:03:01.145" v="61" actId="20577"/>
          <ac:spMkLst>
            <pc:docMk/>
            <pc:sldMk cId="128915136" sldId="1947"/>
            <ac:spMk id="3" creationId="{6370F228-B789-B249-BADA-2E1CF879D65B}"/>
          </ac:spMkLst>
        </pc:spChg>
      </pc:sldChg>
      <pc:sldChg chg="modSp mod">
        <pc:chgData name="Robert Johnstone" userId="cb449c38944dd802" providerId="LiveId" clId="{D2DFD06F-A751-4F80-8853-DDC3B0F1A7D3}" dt="2020-06-22T13:03:04.468" v="63" actId="20577"/>
        <pc:sldMkLst>
          <pc:docMk/>
          <pc:sldMk cId="682321964" sldId="1959"/>
        </pc:sldMkLst>
        <pc:spChg chg="mod">
          <ac:chgData name="Robert Johnstone" userId="cb449c38944dd802" providerId="LiveId" clId="{D2DFD06F-A751-4F80-8853-DDC3B0F1A7D3}" dt="2020-06-22T13:03:04.468" v="63" actId="20577"/>
          <ac:spMkLst>
            <pc:docMk/>
            <pc:sldMk cId="682321964" sldId="1959"/>
            <ac:spMk id="3" creationId="{00000000-0000-0000-0000-000000000000}"/>
          </ac:spMkLst>
        </pc:spChg>
      </pc:sldChg>
    </pc:docChg>
  </pc:docChgLst>
  <pc:docChgLst>
    <pc:chgData name="Robert Johnstone" userId="cb449c38944dd802" providerId="LiveId" clId="{71AB4C0C-3C12-457B-A8B7-081C7281F330}"/>
    <pc:docChg chg="modSld">
      <pc:chgData name="Robert Johnstone" userId="cb449c38944dd802" providerId="LiveId" clId="{71AB4C0C-3C12-457B-A8B7-081C7281F330}" dt="2020-04-02T18:23:11.174" v="0"/>
      <pc:docMkLst>
        <pc:docMk/>
      </pc:docMkLst>
      <pc:sldChg chg="addSp">
        <pc:chgData name="Robert Johnstone" userId="cb449c38944dd802" providerId="LiveId" clId="{71AB4C0C-3C12-457B-A8B7-081C7281F330}" dt="2020-04-02T18:23:11.174" v="0"/>
        <pc:sldMkLst>
          <pc:docMk/>
          <pc:sldMk cId="2539340765" sldId="1025"/>
        </pc:sldMkLst>
        <pc:picChg chg="add">
          <ac:chgData name="Robert Johnstone" userId="cb449c38944dd802" providerId="LiveId" clId="{71AB4C0C-3C12-457B-A8B7-081C7281F330}" dt="2020-04-02T18:23:11.174" v="0"/>
          <ac:picMkLst>
            <pc:docMk/>
            <pc:sldMk cId="2539340765" sldId="1025"/>
            <ac:picMk id="5" creationId="{856D193D-D26F-4F51-830D-A7B427DCB2B3}"/>
          </ac:picMkLst>
        </pc:picChg>
      </pc:sldChg>
    </pc:docChg>
  </pc:docChgLst>
  <pc:docChgLst>
    <pc:chgData name="Robert Johnstone" userId="cb449c38944dd802" providerId="LiveId" clId="{637CF183-90D4-4C4E-AF9E-2294F3589B61}"/>
    <pc:docChg chg="custSel">
      <pc:chgData name="Robert Johnstone" userId="cb449c38944dd802" providerId="LiveId" clId="{637CF183-90D4-4C4E-AF9E-2294F3589B61}" dt="2020-04-24T19:58:23.583" v="0" actId="1592"/>
      <pc:docMkLst>
        <pc:docMk/>
      </pc:docMkLst>
      <pc:sldChg chg="delCm">
        <pc:chgData name="Robert Johnstone" userId="cb449c38944dd802" providerId="LiveId" clId="{637CF183-90D4-4C4E-AF9E-2294F3589B61}" dt="2020-04-24T19:58:23.583" v="0" actId="1592"/>
        <pc:sldMkLst>
          <pc:docMk/>
          <pc:sldMk cId="128915136" sldId="1947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/>
          <a:lstStyle>
            <a:lvl1pPr algn="r">
              <a:defRPr sz="1200"/>
            </a:lvl1pPr>
          </a:lstStyle>
          <a:p>
            <a:fld id="{3D53FCB3-3116-4BA0-A0FB-DF705EF6CDC8}" type="datetimeFigureOut">
              <a:rPr lang="en-US" smtClean="0"/>
              <a:t>6/22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692150"/>
            <a:ext cx="46196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87" tIns="46244" rIns="92487" bIns="4624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387136"/>
            <a:ext cx="5560060" cy="4156234"/>
          </a:xfrm>
          <a:prstGeom prst="rect">
            <a:avLst/>
          </a:prstGeom>
        </p:spPr>
        <p:txBody>
          <a:bodyPr vert="horz" lIns="92487" tIns="46244" rIns="92487" bIns="4624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8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8"/>
            <a:ext cx="3011699" cy="461804"/>
          </a:xfrm>
          <a:prstGeom prst="rect">
            <a:avLst/>
          </a:prstGeom>
        </p:spPr>
        <p:txBody>
          <a:bodyPr vert="horz" lIns="92487" tIns="46244" rIns="92487" bIns="46244" rtlCol="0" anchor="b"/>
          <a:lstStyle>
            <a:lvl1pPr algn="r">
              <a:defRPr sz="1200"/>
            </a:lvl1pPr>
          </a:lstStyle>
          <a:p>
            <a:fld id="{E9EC6E68-91FA-4CA7-8DD7-25476B1B0A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8325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1C1BF69-0C71-4B88-AA8F-AF8EE4A4BD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33260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png"/><Relationship Id="rId4" Type="http://schemas.openxmlformats.org/officeDocument/2006/relationships/image" Target="../media/image5.w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bmp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.bin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png"/><Relationship Id="rId4" Type="http://schemas.openxmlformats.org/officeDocument/2006/relationships/image" Target="../media/image5.w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bmp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2916" y="5401208"/>
            <a:ext cx="5589639" cy="120199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i="0" spc="50" baseline="0">
                <a:solidFill>
                  <a:srgbClr val="FAFFB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440857" y="6546575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0431" y="412956"/>
            <a:ext cx="6803136" cy="3178276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6000" b="0" i="0" u="none" strike="noStrike" kern="1200" cap="none" spc="-100" normalizeH="0" baseline="0" dirty="0">
                <a:ln>
                  <a:noFill/>
                </a:ln>
                <a:solidFill>
                  <a:srgbClr val="2C7D88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683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661568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68849917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bg>
      <p:bgRef idx="1001">
        <a:schemeClr val="bg1"/>
      </p:bgRef>
    </p:bg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63351" y="1604565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hank you!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(null)"/>
              <a:cs typeface="Helvetica"/>
              <a:sym typeface="Helvetica"/>
            </a:endParaRPr>
          </a:p>
        </p:txBody>
      </p:sp>
      <p:sp>
        <p:nvSpPr>
          <p:cNvPr id="8" name="Shape 655">
            <a:extLst>
              <a:ext uri="{FF2B5EF4-FFF2-40B4-BE49-F238E27FC236}">
                <a16:creationId xmlns:a16="http://schemas.microsoft.com/office/drawing/2014/main" id="{EF89A762-5238-7F40-81D4-E623241D55F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63350" y="24677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Presenter’s contact information goes he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09264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art &amp; Title -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4953" y="755653"/>
            <a:ext cx="8326935" cy="341632"/>
          </a:xfrm>
        </p:spPr>
        <p:txBody>
          <a:bodyPr wrap="square" anchor="t" anchorCtr="0">
            <a:noAutofit/>
          </a:bodyPr>
          <a:lstStyle>
            <a:lvl1pPr algn="l">
              <a:defRPr sz="3200"/>
            </a:lvl1pPr>
          </a:lstStyle>
          <a:p>
            <a:r>
              <a:rPr lang="en-US" dirty="0"/>
              <a:t>Chart Title</a:t>
            </a:r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0"/>
          </p:nvPr>
        </p:nvSpPr>
        <p:spPr>
          <a:xfrm>
            <a:off x="424955" y="1475113"/>
            <a:ext cx="8327161" cy="4991003"/>
          </a:xfr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24" name="Content Placeholder 23"/>
          <p:cNvSpPr>
            <a:spLocks noGrp="1"/>
          </p:cNvSpPr>
          <p:nvPr>
            <p:ph sz="quarter" idx="11" hasCustomPrompt="1"/>
          </p:nvPr>
        </p:nvSpPr>
        <p:spPr>
          <a:xfrm>
            <a:off x="424953" y="6493238"/>
            <a:ext cx="8326935" cy="364763"/>
          </a:xfrm>
        </p:spPr>
        <p:txBody>
          <a:bodyPr>
            <a:noAutofit/>
          </a:bodyPr>
          <a:lstStyle>
            <a:lvl1pPr marL="0" indent="0">
              <a:buNone/>
              <a:defRPr sz="1000"/>
            </a:lvl1pPr>
            <a:lvl2pPr marL="457154" indent="0">
              <a:buNone/>
              <a:defRPr sz="1200"/>
            </a:lvl2pPr>
            <a:lvl3pPr marL="914306" indent="0">
              <a:buNone/>
              <a:defRPr sz="1200"/>
            </a:lvl3pPr>
            <a:lvl4pPr marL="1371460" indent="0">
              <a:buNone/>
              <a:defRPr sz="1200"/>
            </a:lvl4pPr>
            <a:lvl5pPr marL="1828613" indent="0">
              <a:buNone/>
              <a:defRPr sz="1200"/>
            </a:lvl5pPr>
          </a:lstStyle>
          <a:p>
            <a:pPr lvl="0"/>
            <a:r>
              <a:rPr lang="en-US" dirty="0"/>
              <a:t>Source: 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1301144" y="377826"/>
            <a:ext cx="7842856" cy="0"/>
          </a:xfrm>
          <a:prstGeom prst="line">
            <a:avLst/>
          </a:prstGeom>
          <a:ln w="381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18" y="261705"/>
            <a:ext cx="711200" cy="232242"/>
          </a:xfrm>
          <a:prstGeom prst="rect">
            <a:avLst/>
          </a:prstGeom>
        </p:spPr>
      </p:pic>
      <p:cxnSp>
        <p:nvCxnSpPr>
          <p:cNvPr id="29" name="Straight Connector 28"/>
          <p:cNvCxnSpPr/>
          <p:nvPr userDrawn="1"/>
        </p:nvCxnSpPr>
        <p:spPr>
          <a:xfrm>
            <a:off x="0" y="377826"/>
            <a:ext cx="371754" cy="0"/>
          </a:xfrm>
          <a:prstGeom prst="line">
            <a:avLst/>
          </a:prstGeom>
          <a:ln w="38100">
            <a:solidFill>
              <a:srgbClr val="0065A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937390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1557962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765290" y="173736"/>
            <a:ext cx="2194560" cy="5617464"/>
          </a:xfrm>
          <a:prstGeom prst="rect">
            <a:avLst/>
          </a:prstGeom>
          <a:solidFill>
            <a:schemeClr val="accent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380637"/>
            <a:ext cx="1823085" cy="1645920"/>
          </a:xfr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cap="none" spc="0" baseline="0" dirty="0">
                <a:solidFill>
                  <a:schemeClr val="tx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5999"/>
            <a:ext cx="1823085" cy="3303639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185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3736"/>
            <a:ext cx="2194560" cy="5614416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6884162" y="292608"/>
            <a:ext cx="1956816" cy="537814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0456" y="379476"/>
            <a:ext cx="1824228" cy="1645920"/>
          </a:xfrm>
        </p:spPr>
        <p:txBody>
          <a:bodyPr anchor="ctr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6000"/>
            <a:ext cx="1824228" cy="327414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5363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Enter Title Here Small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6858000" cy="4191000"/>
          </a:xfrm>
        </p:spPr>
        <p:txBody>
          <a:bodyPr/>
          <a:lstStyle>
            <a:lvl1pPr>
              <a:buSzPct val="10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1219200" y="6447116"/>
            <a:ext cx="5943600" cy="2701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5849523"/>
      </p:ext>
    </p:extLst>
  </p:cSld>
  <p:clrMapOvr>
    <a:masterClrMapping/>
  </p:clrMapOvr>
  <p:transition>
    <p:dissolv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9919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15570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baseline="-250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305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09956" algn="l"/>
              </a:tabLst>
              <a:defRPr sz="1969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682475" algn="l"/>
              </a:tabLst>
              <a:defRPr sz="984" b="1">
                <a:solidFill>
                  <a:srgbClr val="FFFFFF"/>
                </a:solidFill>
              </a:defRPr>
            </a:lvl2pPr>
            <a:lvl3pPr marL="909956" indent="-909956">
              <a:spcAft>
                <a:spcPts val="0"/>
              </a:spcAft>
              <a:buFontTx/>
              <a:buNone/>
              <a:tabLst/>
              <a:defRPr sz="984" b="0">
                <a:solidFill>
                  <a:srgbClr val="FFFFFF"/>
                </a:solidFill>
              </a:defRPr>
            </a:lvl3pPr>
            <a:lvl4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4pPr>
            <a:lvl5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0"/>
            <a:ext cx="8229600" cy="2506133"/>
          </a:xfrm>
        </p:spPr>
        <p:txBody>
          <a:bodyPr anchor="t"/>
          <a:lstStyle>
            <a:lvl1pPr>
              <a:defRPr sz="499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7556500" y="735528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3" tIns="45497" rIns="90993" bIns="45497" numCol="1" anchor="t" anchorCtr="0" compatLnSpc="1">
            <a:prstTxWarp prst="textNoShape">
              <a:avLst/>
            </a:prstTxWarp>
          </a:bodyPr>
          <a:lstStyle/>
          <a:p>
            <a:pPr algn="r" defTabSz="639818" eaLnBrk="0" fontAlgn="base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r>
              <a:rPr lang="en-US" sz="1266" b="1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June 8, 2012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158" y="261980"/>
            <a:ext cx="3541483" cy="688791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auto">
          <a:xfrm>
            <a:off x="457200" y="1117600"/>
            <a:ext cx="8229600" cy="17272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729120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3966305"/>
            <a:ext cx="8229600" cy="2156779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tabLst>
                <a:tab pos="909956" algn="l"/>
              </a:tabLst>
              <a:defRPr sz="1969" b="1">
                <a:solidFill>
                  <a:srgbClr val="FFFFFF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tabLst>
                <a:tab pos="682475" algn="l"/>
              </a:tabLst>
              <a:defRPr sz="984" b="1">
                <a:solidFill>
                  <a:srgbClr val="FFFFFF"/>
                </a:solidFill>
              </a:defRPr>
            </a:lvl2pPr>
            <a:lvl3pPr marL="909956" indent="-909956">
              <a:spcAft>
                <a:spcPts val="0"/>
              </a:spcAft>
              <a:buFontTx/>
              <a:buNone/>
              <a:tabLst/>
              <a:defRPr sz="984" b="0">
                <a:solidFill>
                  <a:srgbClr val="FFFFFF"/>
                </a:solidFill>
              </a:defRPr>
            </a:lvl3pPr>
            <a:lvl4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4pPr>
            <a:lvl5pPr marL="909956" indent="-909956">
              <a:spcAft>
                <a:spcPts val="0"/>
              </a:spcAft>
              <a:buFontTx/>
              <a:buNone/>
              <a:tabLst/>
              <a:defRPr sz="984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1449390"/>
            <a:ext cx="8229600" cy="2506133"/>
          </a:xfrm>
        </p:spPr>
        <p:txBody>
          <a:bodyPr anchor="t"/>
          <a:lstStyle>
            <a:lvl1pPr>
              <a:defRPr sz="4992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ubtitle 8"/>
          <p:cNvSpPr txBox="1">
            <a:spLocks/>
          </p:cNvSpPr>
          <p:nvPr userDrawn="1"/>
        </p:nvSpPr>
        <p:spPr bwMode="auto">
          <a:xfrm>
            <a:off x="7556500" y="735528"/>
            <a:ext cx="1122680" cy="1586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993" tIns="45497" rIns="90993" bIns="45497" numCol="1" anchor="t" anchorCtr="0" compatLnSpc="1">
            <a:prstTxWarp prst="textNoShape">
              <a:avLst/>
            </a:prstTxWarp>
          </a:bodyPr>
          <a:lstStyle/>
          <a:p>
            <a:pPr algn="r" defTabSz="639818" eaLnBrk="0" fontAlgn="base">
              <a:spcBef>
                <a:spcPct val="20000"/>
              </a:spcBef>
              <a:spcAft>
                <a:spcPts val="600"/>
              </a:spcAft>
              <a:buClr>
                <a:srgbClr val="A3B222"/>
              </a:buClr>
              <a:defRPr/>
            </a:pPr>
            <a:r>
              <a:rPr lang="en-US" sz="1266" b="1" dirty="0">
                <a:latin typeface="Arial" charset="0"/>
                <a:ea typeface="ヒラギノ角ゴ Pro W3" charset="-128"/>
              </a:rPr>
              <a:t>MONTH XX, 2012</a:t>
            </a:r>
          </a:p>
        </p:txBody>
      </p:sp>
      <p:sp>
        <p:nvSpPr>
          <p:cNvPr id="12" name="Rectangle 11"/>
          <p:cNvSpPr/>
          <p:nvPr userDrawn="1"/>
        </p:nvSpPr>
        <p:spPr bwMode="auto">
          <a:xfrm>
            <a:off x="457200" y="1117600"/>
            <a:ext cx="8229600" cy="17272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pic>
        <p:nvPicPr>
          <p:cNvPr id="10" name="Picture 9" descr="CCRC_logo_reverse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3522" y="91440"/>
            <a:ext cx="3145536" cy="1061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3777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2258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072"/>
            <a:ext cx="2905761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algn="r"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501608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25439" y="750982"/>
            <a:ext cx="8417597" cy="3841433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br>
              <a:rPr lang="en-US" dirty="0"/>
            </a:b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4" y="4591145"/>
            <a:ext cx="5473170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rgbClr val="141313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43689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-1" y="-1753066"/>
          <a:ext cx="9144001" cy="6870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Image" r:id="rId3" imgW="13002840" imgH="9752040" progId="Photoshop.Image.13">
                  <p:embed/>
                </p:oleObj>
              </mc:Choice>
              <mc:Fallback>
                <p:oleObj name="Image" r:id="rId3" imgW="13002840" imgH="975204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" y="-1753066"/>
                        <a:ext cx="9144001" cy="6870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31920" y="1334222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sz="2000" spc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646888"/>
      </p:ext>
    </p:extLst>
  </p:cSld>
  <p:clrMapOvr>
    <a:masterClrMapping/>
  </p:clrMapOvr>
  <p:transition>
    <p:dissolv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2"/>
            <a:ext cx="7996435" cy="4259820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934660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5" name="Text Box 9"/>
          <p:cNvSpPr txBox="1">
            <a:spLocks noChangeArrowheads="1"/>
          </p:cNvSpPr>
          <p:nvPr userDrawn="1"/>
        </p:nvSpPr>
        <p:spPr bwMode="auto">
          <a:xfrm>
            <a:off x="5872480" y="290072"/>
            <a:ext cx="2905761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algn="r"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PRESENTATION TITLE IN HEADER / MONTH XX, 2012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tx1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tx1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tx1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tx1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tx1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10692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6" name="Text Box 9"/>
          <p:cNvSpPr txBox="1">
            <a:spLocks noChangeArrowheads="1"/>
          </p:cNvSpPr>
          <p:nvPr userDrawn="1"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solidFill>
                  <a:srgbClr val="FFFFFF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solidFill>
                <a:srgbClr val="FFFFFF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7" name="Rectangle 6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accent4"/>
              </a:buClr>
              <a:defRPr>
                <a:solidFill>
                  <a:srgbClr val="FFFFFF"/>
                </a:solidFill>
              </a:defRPr>
            </a:lvl1pPr>
            <a:lvl2pPr>
              <a:buClr>
                <a:schemeClr val="accent4"/>
              </a:buClr>
              <a:defRPr>
                <a:solidFill>
                  <a:srgbClr val="FFFFFF"/>
                </a:solidFill>
              </a:defRPr>
            </a:lvl2pPr>
            <a:lvl3pPr>
              <a:buClr>
                <a:schemeClr val="accent4"/>
              </a:buClr>
              <a:defRPr>
                <a:solidFill>
                  <a:srgbClr val="FFFFFF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rgbClr val="FFFFFF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13652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62000"/>
            <a:ext cx="8229601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2002249"/>
            <a:ext cx="3979333" cy="4522471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buClr>
                <a:schemeClr val="bg2"/>
              </a:buClr>
              <a:defRPr/>
            </a:lvl1pPr>
            <a:lvl2pPr>
              <a:spcBef>
                <a:spcPts val="432"/>
              </a:spcBef>
              <a:buClr>
                <a:schemeClr val="bg2"/>
              </a:buClr>
              <a:defRPr/>
            </a:lvl2pPr>
            <a:lvl3pPr>
              <a:spcBef>
                <a:spcPts val="432"/>
              </a:spcBef>
              <a:buClr>
                <a:schemeClr val="bg2"/>
              </a:buClr>
              <a:defRPr/>
            </a:lvl3pPr>
            <a:lvl4pPr>
              <a:spcBef>
                <a:spcPts val="432"/>
              </a:spcBef>
              <a:buClr>
                <a:schemeClr val="bg2"/>
              </a:buClr>
              <a:defRPr/>
            </a:lvl4pPr>
            <a:lvl5pPr>
              <a:spcBef>
                <a:spcPts val="432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96" y="2002249"/>
            <a:ext cx="3665799" cy="4427189"/>
          </a:xfrm>
          <a:ln>
            <a:noFill/>
          </a:ln>
        </p:spPr>
        <p:txBody>
          <a:bodyPr/>
          <a:lstStyle>
            <a:lvl1pPr>
              <a:spcBef>
                <a:spcPts val="432"/>
              </a:spcBef>
              <a:buClr>
                <a:schemeClr val="bg2"/>
              </a:buClr>
              <a:defRPr/>
            </a:lvl1pPr>
            <a:lvl2pPr>
              <a:spcBef>
                <a:spcPts val="432"/>
              </a:spcBef>
              <a:buClr>
                <a:schemeClr val="bg2"/>
              </a:buClr>
              <a:defRPr/>
            </a:lvl2pPr>
            <a:lvl3pPr>
              <a:spcBef>
                <a:spcPts val="432"/>
              </a:spcBef>
              <a:buClr>
                <a:schemeClr val="bg2"/>
              </a:buClr>
              <a:defRPr/>
            </a:lvl3pPr>
            <a:lvl4pPr>
              <a:spcBef>
                <a:spcPts val="432"/>
              </a:spcBef>
              <a:buClr>
                <a:schemeClr val="bg2"/>
              </a:buClr>
              <a:defRPr/>
            </a:lvl4pPr>
            <a:lvl5pPr>
              <a:spcBef>
                <a:spcPts val="432"/>
              </a:spcBef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463407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334965" y="2379663"/>
            <a:ext cx="3979863" cy="3831591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993" tIns="45497" rIns="90993" bIns="45497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84703" y="2113915"/>
            <a:ext cx="3979862" cy="4097338"/>
          </a:xfrm>
          <a:prstGeom prst="rect">
            <a:avLst/>
          </a:prstGeom>
          <a:noFill/>
          <a:ln w="3175" cap="flat" cmpd="sng" algn="ctr">
            <a:solidFill>
              <a:srgbClr val="14131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993" tIns="45497" rIns="90993" bIns="45497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585232" y="2415328"/>
            <a:ext cx="3979333" cy="3794654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62000"/>
            <a:ext cx="8239761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2415328"/>
            <a:ext cx="3979333" cy="3804814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334965" y="2113916"/>
            <a:ext cx="3979333" cy="306387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282814" indent="-110586" algn="l">
              <a:buFontTx/>
              <a:buNone/>
              <a:defRPr sz="11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85232" y="2113916"/>
            <a:ext cx="3979333" cy="306387"/>
          </a:xfrm>
          <a:solidFill>
            <a:srgbClr val="0065A4"/>
          </a:solidFill>
          <a:ln>
            <a:noFill/>
          </a:ln>
        </p:spPr>
        <p:txBody>
          <a:bodyPr anchor="ctr"/>
          <a:lstStyle>
            <a:lvl1pPr marL="344398" indent="-233810" algn="l">
              <a:buFontTx/>
              <a:buNone/>
              <a:defRPr sz="1195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40937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4520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29920" y="3108962"/>
            <a:ext cx="183828" cy="459804"/>
          </a:xfrm>
          <a:prstGeom prst="rect">
            <a:avLst/>
          </a:prstGeom>
          <a:noFill/>
        </p:spPr>
        <p:txBody>
          <a:bodyPr wrap="none" lIns="90993" tIns="45497" rIns="90993" bIns="45497" rtlCol="0">
            <a:spAutoFit/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804271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5058" y="750888"/>
            <a:ext cx="8229601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34965" y="1990081"/>
            <a:ext cx="3979333" cy="4227299"/>
          </a:xfrm>
          <a:ln>
            <a:noFill/>
          </a:ln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28" y="1981519"/>
            <a:ext cx="3995737" cy="4235766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494149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2"/>
          </p:nvPr>
        </p:nvSpPr>
        <p:spPr>
          <a:xfrm>
            <a:off x="4568828" y="2201427"/>
            <a:ext cx="3995737" cy="410580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6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334965" y="2201427"/>
            <a:ext cx="3995737" cy="4105805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336269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48750" r="-48750"/>
          <a:stretch/>
        </p:blipFill>
        <p:spPr>
          <a:xfrm>
            <a:off x="5029201" y="939903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02920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2" y="1526439"/>
            <a:ext cx="4197849" cy="31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High school to college transitions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evelopmental education &amp; adult basic skills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udent services &amp; financial aid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nline learning &amp; instructional technology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tudent persistence, completion, &amp; transfer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llege to career &amp; workforce education</a:t>
            </a:r>
          </a:p>
          <a:p>
            <a:pPr marL="342882" marR="0" lvl="0" indent="-34288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20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mproving institutional performance</a:t>
            </a:r>
            <a:endParaRPr sz="2000" dirty="0"/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bout CCRC</a:t>
            </a:r>
            <a:endParaRPr sz="1100"/>
          </a:p>
        </p:txBody>
      </p:sp>
    </p:spTree>
    <p:extLst>
      <p:ext uri="{BB962C8B-B14F-4D97-AF65-F5344CB8AC3E}">
        <p14:creationId xmlns:p14="http://schemas.microsoft.com/office/powerpoint/2010/main" val="245859673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75819722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17805"/>
          </a:xfrm>
          <a:prstGeom prst="rect">
            <a:avLst/>
          </a:prstGeom>
          <a:blipFill dpi="0" rotWithShape="1">
            <a:blip r:embed="rId2">
              <a:alphaModFix amt="40000"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tile tx="-31750" ty="-120650" sx="100000" sy="100000" flip="xy" algn="tl"/>
          </a:blipFill>
          <a:ln w="1905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31920" y="1332914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pc="0" baseline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32919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/>
          </p:nvPr>
        </p:nvSpPr>
        <p:spPr>
          <a:xfrm>
            <a:off x="443319" y="5056292"/>
            <a:ext cx="8086800" cy="39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987073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406379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38098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3555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741223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- Photo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38098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3555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46576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48" name="Shape 648"/>
          <p:cNvSpPr txBox="1">
            <a:spLocks noGrp="1"/>
          </p:cNvSpPr>
          <p:nvPr>
            <p:ph type="body" idx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5811137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4" name="Shape 654"/>
          <p:cNvSpPr txBox="1">
            <a:spLocks noGrp="1"/>
          </p:cNvSpPr>
          <p:nvPr>
            <p:ph type="body" idx="2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2685626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7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0432597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462351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77" marR="0" lvl="0" indent="-22858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53" marR="0" lvl="1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530" marR="0" lvl="2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706" marR="0" lvl="3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883" marR="0" lvl="4" indent="-22858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060" marR="0" lvl="5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236" marR="0" lvl="6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413" marR="0" lvl="7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590" marR="0" lvl="8" indent="-34288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560085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inal Slide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57200" y="2544417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ank you!</a:t>
            </a:r>
            <a:endParaRPr sz="1100"/>
          </a:p>
        </p:txBody>
      </p:sp>
    </p:spTree>
    <p:extLst>
      <p:ext uri="{BB962C8B-B14F-4D97-AF65-F5344CB8AC3E}">
        <p14:creationId xmlns:p14="http://schemas.microsoft.com/office/powerpoint/2010/main" val="21484220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defTabSz="610007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 dirty="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3175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961"/>
            <a:ext cx="2905761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algn="r" defTabSz="610007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PRESENTATION TITLE IN HEADER / JUNE 8, 2012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8" y="280803"/>
            <a:ext cx="3251200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defTabSz="610007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latin typeface="Arial" charset="0"/>
              <a:ea typeface="ヒラギノ角ゴ Pro W3" charset="-128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defTabSz="610007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solidFill>
                <a:prstClr val="black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806715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30355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8D6F66-3772-4378-A47F-9B36BBECABB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6/22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D89EFE-2D53-420E-97B2-34175C946FA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96860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066806" y="762003"/>
            <a:ext cx="7848600" cy="53641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738421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1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130" y="6400846"/>
            <a:ext cx="1279525" cy="325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175" y="242891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12319" y="6254461"/>
            <a:ext cx="8686800" cy="230832"/>
          </a:xfrm>
        </p:spPr>
        <p:txBody>
          <a:bodyPr lIns="88967" tIns="44484" rIns="88967" bIns="44484" anchor="b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>
          <a:xfrm>
            <a:off x="5091113" y="6493428"/>
            <a:ext cx="2133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</a:pPr>
            <a:fld id="{E169A2AA-1921-43E5-9020-CC4D5CB96CC1}" type="datetime2">
              <a:rPr lang="en-US" altLang="en-US" sz="2400" smtClean="0">
                <a:ea typeface="ヒラギノ角ゴ Pro W3"/>
              </a:rPr>
              <a:pPr defTabSz="625987" eaLnBrk="0" fontAlgn="base">
                <a:spcBef>
                  <a:spcPct val="0"/>
                </a:spcBef>
                <a:spcAft>
                  <a:spcPct val="0"/>
                </a:spcAft>
              </a:pPr>
              <a:t>Monday, June 22, 2020</a:t>
            </a:fld>
            <a:endParaRPr lang="en-US" altLang="en-US" sz="2400">
              <a:ea typeface="ヒラギノ角ゴ Pro W3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725" y="6493428"/>
            <a:ext cx="2895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>
                <a:ea typeface="ヒラギノ角ゴ Pro W3"/>
              </a:rPr>
              <a:t>DRAFT - for discussion purposes</a:t>
            </a: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3428"/>
            <a:ext cx="9144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87" eaLnBrk="0" fontAlgn="base">
              <a:spcBef>
                <a:spcPct val="0"/>
              </a:spcBef>
              <a:spcAft>
                <a:spcPct val="0"/>
              </a:spcAft>
            </a:pPr>
            <a:fld id="{76AAC7E1-7A03-457F-A246-EDC5C1100EA6}" type="slidenum">
              <a:rPr lang="en-US" altLang="en-US" sz="2400" smtClean="0">
                <a:ea typeface="ヒラギノ角ゴ Pro W3"/>
              </a:rPr>
              <a:pPr defTabSz="625987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2400"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7364569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48750" r="-48750"/>
          <a:stretch/>
        </p:blipFill>
        <p:spPr>
          <a:xfrm>
            <a:off x="502920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02920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526439"/>
            <a:ext cx="4197849" cy="313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High school to college transition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evelopmental education &amp; adult basic skill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tudent services &amp; financial aid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Online learning &amp; instructional technology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tudent persistence, completion, &amp; transfer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College to career &amp; workforce education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Improving institutional performance</a:t>
            </a:r>
            <a:endParaRPr kumimoji="0" sz="2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bout CCRC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8245198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2159256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/>
          </p:nvPr>
        </p:nvSpPr>
        <p:spPr>
          <a:xfrm>
            <a:off x="443319" y="5056292"/>
            <a:ext cx="8086800" cy="396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1796025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453054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- Photo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2225211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48" name="Shape 648"/>
          <p:cNvSpPr txBox="1">
            <a:spLocks noGrp="1"/>
          </p:cNvSpPr>
          <p:nvPr>
            <p:ph type="body" idx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84113051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4" name="Shape 654"/>
          <p:cNvSpPr txBox="1">
            <a:spLocks noGrp="1"/>
          </p:cNvSpPr>
          <p:nvPr>
            <p:ph type="body" idx="2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6648194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06747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225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93238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87196590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69051744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93238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985286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inal Slide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57200" y="2544417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Thank you!</a:t>
            </a:r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7684661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Shape 252"/>
          <p:cNvSpPr>
            <a:spLocks noGrp="1"/>
          </p:cNvSpPr>
          <p:nvPr>
            <p:ph type="sldNum" sz="quarter" idx="2"/>
          </p:nvPr>
        </p:nvSpPr>
        <p:spPr>
          <a:xfrm>
            <a:off x="6553211" y="6389055"/>
            <a:ext cx="2133600" cy="299727"/>
          </a:xfrm>
          <a:prstGeom prst="rect">
            <a:avLst/>
          </a:prstGeom>
        </p:spPr>
        <p:txBody>
          <a:bodyPr wrap="square" lIns="62689" tIns="62689" rIns="62689" bIns="62689" anchor="ctr">
            <a:spAutoFit/>
          </a:bodyPr>
          <a:lstStyle>
            <a:lvl1pPr algn="r" defTabSz="620435">
              <a:defRPr sz="1125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031850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4963" y="2008821"/>
            <a:ext cx="8229600" cy="4475164"/>
          </a:xfrm>
        </p:spPr>
        <p:txBody>
          <a:bodyPr/>
          <a:lstStyle>
            <a:lvl1pPr>
              <a:buClr>
                <a:schemeClr val="bg2"/>
              </a:buClr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>
              <a:buClr>
                <a:schemeClr val="bg2"/>
              </a:buClr>
              <a:defRPr/>
            </a:lvl4pPr>
            <a:lvl5pPr>
              <a:buClr>
                <a:schemeClr val="bg2"/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63" y="762000"/>
            <a:ext cx="8229600" cy="1143000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5464323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65A4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34963" y="750887"/>
            <a:ext cx="8229600" cy="3851276"/>
          </a:xfrm>
        </p:spPr>
        <p:txBody>
          <a:bodyPr anchor="t"/>
          <a:lstStyle>
            <a:lvl1pPr>
              <a:spcBef>
                <a:spcPts val="0"/>
              </a:spcBef>
              <a:defRPr sz="5976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34963" y="4603176"/>
            <a:ext cx="5350933" cy="879475"/>
          </a:xfrm>
        </p:spPr>
        <p:txBody>
          <a:bodyPr/>
          <a:lstStyle>
            <a:lvl1pPr marL="0" indent="0">
              <a:spcAft>
                <a:spcPts val="600"/>
              </a:spcAft>
              <a:buFontTx/>
              <a:buNone/>
              <a:defRPr sz="1969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5872480" y="290962"/>
            <a:ext cx="2905761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marL="0" marR="0" lvl="0" indent="0" algn="r" defTabSz="609976" rtl="0" eaLnBrk="0" fontAlgn="base" latinLnBrk="0" hangingPunct="0">
              <a:lnSpc>
                <a:spcPct val="100000"/>
              </a:lnSpc>
              <a:spcBef>
                <a:spcPts val="23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charset="-128"/>
                <a:cs typeface="Helvetica"/>
                <a:sym typeface="Helvetica"/>
              </a:rPr>
              <a:t>PRESENTATION TITLE IN HEADER / JUNE 8, 2012</a:t>
            </a:r>
            <a:endParaRPr kumimoji="0" lang="en-US" sz="70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365768" y="280804"/>
            <a:ext cx="3251200" cy="1956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6576" tIns="43330" rIns="86576" bIns="43330">
            <a:prstTxWarp prst="textNoShape">
              <a:avLst/>
            </a:prstTxWarp>
            <a:spAutoFit/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ts val="23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ヒラギノ角ゴ Pro W3" charset="-128"/>
                <a:cs typeface="Helvetica"/>
                <a:sym typeface="Helvetica"/>
              </a:rPr>
              <a:t>COMMUNITY COLLEGE RESEARCH CENTER</a:t>
            </a:r>
            <a:endParaRPr kumimoji="0" lang="en-US" sz="70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  <p:sp>
        <p:nvSpPr>
          <p:cNvPr id="10" name="Rectangle 9"/>
          <p:cNvSpPr/>
          <p:nvPr userDrawn="1"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6576" tIns="43330" rIns="86576" bIns="433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58355788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302206"/>
            <a:fld id="{DE8D6F66-3772-4378-A47F-9B36BBECABB6}" type="datetimeFigureOut">
              <a:rPr lang="en-US" sz="773" smtClean="0">
                <a:solidFill>
                  <a:prstClr val="black">
                    <a:tint val="75000"/>
                  </a:prstClr>
                </a:solidFill>
              </a:rPr>
              <a:pPr defTabSz="302206"/>
              <a:t>6/22/2020</a:t>
            </a:fld>
            <a:endParaRPr lang="en-US" sz="77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02206"/>
            <a:endParaRPr lang="en-US" sz="773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302206"/>
            <a:fld id="{85D89EFE-2D53-420E-97B2-34175C946FAB}" type="slidenum">
              <a:rPr lang="en-US" sz="773" smtClean="0">
                <a:solidFill>
                  <a:prstClr val="black">
                    <a:tint val="75000"/>
                  </a:prstClr>
                </a:solidFill>
              </a:rPr>
              <a:pPr defTabSz="302206"/>
              <a:t>‹#›</a:t>
            </a:fld>
            <a:endParaRPr lang="en-US" sz="773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82480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066806" y="762003"/>
            <a:ext cx="7848600" cy="53641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650166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973" y="762000"/>
            <a:ext cx="8224520" cy="1149667"/>
          </a:xfrm>
        </p:spPr>
        <p:txBody>
          <a:bodyPr anchor="ctr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Box 2"/>
          <p:cNvSpPr txBox="1"/>
          <p:nvPr userDrawn="1"/>
        </p:nvSpPr>
        <p:spPr>
          <a:xfrm>
            <a:off x="630025" y="3108967"/>
            <a:ext cx="174908" cy="455428"/>
          </a:xfrm>
          <a:prstGeom prst="rect">
            <a:avLst/>
          </a:prstGeom>
          <a:noFill/>
        </p:spPr>
        <p:txBody>
          <a:bodyPr wrap="none" lIns="86576" tIns="43330" rIns="86576" bIns="43330" rtlCol="0">
            <a:spAutoFit/>
          </a:bodyPr>
          <a:lstStyle/>
          <a:p>
            <a:pPr marL="0" marR="0" lvl="0" indent="0" algn="l" defTabSz="609976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391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charset="-128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541604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33774"/>
            <a:ext cx="7680960" cy="1371600"/>
          </a:xfrm>
        </p:spPr>
        <p:txBody>
          <a:bodyPr/>
          <a:lstStyle>
            <a:lvl1pPr>
              <a:defRPr>
                <a:solidFill>
                  <a:srgbClr val="5E5338"/>
                </a:solidFill>
                <a:effectLst>
                  <a:outerShdw blurRad="38100" dist="38100" dir="2700000" algn="tl">
                    <a:schemeClr val="bg1">
                      <a:lumMod val="65000"/>
                      <a:lumOff val="35000"/>
                      <a:alpha val="43000"/>
                    </a:scheme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157452" cy="3495010"/>
          </a:xfrm>
        </p:spPr>
        <p:txBody>
          <a:bodyPr/>
          <a:lstStyle>
            <a:lvl1pPr>
              <a:defRPr sz="2800" baseline="0">
                <a:solidFill>
                  <a:schemeClr val="tx1"/>
                </a:solidFill>
              </a:defRPr>
            </a:lvl1pPr>
            <a:lvl2pPr>
              <a:defRPr baseline="0">
                <a:solidFill>
                  <a:srgbClr val="FFFF00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2775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91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7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2131" y="6400847"/>
            <a:ext cx="1279525" cy="325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176" y="242891"/>
            <a:ext cx="8742363" cy="36933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212319" y="6254461"/>
            <a:ext cx="8686800" cy="230832"/>
          </a:xfrm>
        </p:spPr>
        <p:txBody>
          <a:bodyPr lIns="88967" tIns="44484" rIns="88967" bIns="44484" anchor="b">
            <a:noAutofit/>
          </a:bodyPr>
          <a:lstStyle>
            <a:lvl1pPr>
              <a:defRPr sz="90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4"/>
          </p:nvPr>
        </p:nvSpPr>
        <p:spPr>
          <a:xfrm>
            <a:off x="5091113" y="6493429"/>
            <a:ext cx="2133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</a:pPr>
            <a:fld id="{E169A2AA-1921-43E5-9020-CC4D5CB96CC1}" type="datetime2">
              <a:rPr lang="en-US" altLang="en-US" sz="2400" smtClean="0">
                <a:ea typeface="ヒラギノ角ゴ Pro W3"/>
              </a:rPr>
              <a:pPr defTabSz="625955" eaLnBrk="0" fontAlgn="base">
                <a:spcBef>
                  <a:spcPct val="0"/>
                </a:spcBef>
                <a:spcAft>
                  <a:spcPct val="0"/>
                </a:spcAft>
              </a:pPr>
              <a:t>Monday, June 22, 2020</a:t>
            </a:fld>
            <a:endParaRPr lang="en-US" altLang="en-US" sz="2400">
              <a:ea typeface="ヒラギノ角ゴ Pro W3"/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>
          <a:xfrm>
            <a:off x="212725" y="6493429"/>
            <a:ext cx="28956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400">
                <a:ea typeface="ヒラギノ角ゴ Pro W3"/>
              </a:rPr>
              <a:t>DRAFT - for discussion purposes</a:t>
            </a:r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6"/>
          </p:nvPr>
        </p:nvSpPr>
        <p:spPr>
          <a:xfrm>
            <a:off x="4114800" y="6493429"/>
            <a:ext cx="914400" cy="182563"/>
          </a:xfrm>
          <a:prstGeom prst="rect">
            <a:avLst/>
          </a:prstGeom>
        </p:spPr>
        <p:txBody>
          <a:bodyPr lIns="88967" tIns="44484" rIns="88967" bIns="44484"/>
          <a:lstStyle>
            <a:lvl1pPr>
              <a:defRPr/>
            </a:lvl1pPr>
          </a:lstStyle>
          <a:p>
            <a:pPr defTabSz="625955" eaLnBrk="0" fontAlgn="base">
              <a:spcBef>
                <a:spcPct val="0"/>
              </a:spcBef>
              <a:spcAft>
                <a:spcPct val="0"/>
              </a:spcAft>
            </a:pPr>
            <a:fld id="{76AAC7E1-7A03-457F-A246-EDC5C1100EA6}" type="slidenum">
              <a:rPr lang="en-US" altLang="en-US" sz="2400" smtClean="0">
                <a:ea typeface="ヒラギノ角ゴ Pro W3"/>
              </a:rPr>
              <a:pPr defTabSz="625955" eaLnBrk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 sz="2400">
              <a:ea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425483622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 hasCustomPrompt="1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Presentation Title</a:t>
            </a:r>
            <a:endParaRPr dirty="0"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Presenters’ Names</a:t>
            </a:r>
            <a:endParaRPr dirty="0"/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314265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52850" r="-52850"/>
          <a:stretch/>
        </p:blipFill>
        <p:spPr>
          <a:xfrm>
            <a:off x="579914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79914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390703"/>
            <a:ext cx="5280101" cy="5101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CCRC has been a leader in the field of community college research and reform for over 20 years. Our work provides a foundation for innovations in policy and practice that help give every community college student the best chance of success.</a:t>
            </a: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chemeClr val="dk1"/>
              </a:buClr>
              <a:buSzPts val="2200"/>
              <a:buFont typeface="Arial"/>
              <a:buNone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College readiness and dual enrollment programs, and the transition from high school to college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Developmental education and adult basic skills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Non-academic support services, financial aid, and student engagement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Online education and instructional technology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Student persistence and completion, and transfer to four-year colleges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Guided pathways, institutional reform, and performance funding </a:t>
            </a:r>
          </a:p>
          <a:p>
            <a:pPr marL="342865" marR="0" lvl="0" indent="-34286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ts val="2200"/>
              <a:buFont typeface="Arial" panose="020B0604020202020204" pitchFamily="34" charset="0"/>
              <a:buChar char="•"/>
            </a:pPr>
            <a:r>
              <a:rPr lang="en-US" sz="1758" b="0" i="0" u="none" strike="noStrike" cap="none" spc="-28" baseline="0" dirty="0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rPr>
              <a:t>Workforce education and training and the economic returns to higher education</a:t>
            </a: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i="0" u="none" strike="noStrike" cap="none" dirty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About CCRC</a:t>
            </a:r>
            <a:endParaRPr sz="1100" b="0" i="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56570195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4158762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 hasCustomPrompt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485748" marR="0" lvl="3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bulleted list</a:t>
            </a:r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057168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Image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737178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0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C7B9A75B-E217-DF49-BF55-6FDAE6951F7B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25278" y="1850407"/>
            <a:ext cx="8366001" cy="4422155"/>
          </a:xfrm>
        </p:spPr>
        <p:txBody>
          <a:bodyPr/>
          <a:lstStyle>
            <a:lvl1pPr marL="35715" indent="0">
              <a:buNone/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393562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62515500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dirty="0">
              <a:solidFill>
                <a:schemeClr val="lt1"/>
              </a:solidFill>
              <a:latin typeface="Arial (null)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 hasCustomPrompt="1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sp>
        <p:nvSpPr>
          <p:cNvPr id="648" name="Shape 648"/>
          <p:cNvSpPr txBox="1">
            <a:spLocks noGrp="1"/>
          </p:cNvSpPr>
          <p:nvPr>
            <p:ph type="body" idx="1" hasCustomPrompt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Subtitle</a:t>
            </a:r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11" name="Shape 641">
            <a:extLst>
              <a:ext uri="{FF2B5EF4-FFF2-40B4-BE49-F238E27FC236}">
                <a16:creationId xmlns:a16="http://schemas.microsoft.com/office/drawing/2014/main" id="{88766948-B31C-AC46-BD49-7A210FA45BC8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12" name="Shape 642">
            <a:extLst>
              <a:ext uri="{FF2B5EF4-FFF2-40B4-BE49-F238E27FC236}">
                <a16:creationId xmlns:a16="http://schemas.microsoft.com/office/drawing/2014/main" id="{97781516-9DDB-B346-9BA4-A48471DD4D3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Shape 643">
            <a:extLst>
              <a:ext uri="{FF2B5EF4-FFF2-40B4-BE49-F238E27FC236}">
                <a16:creationId xmlns:a16="http://schemas.microsoft.com/office/drawing/2014/main" id="{C6F3FDED-D9DD-B348-9384-C4630989A30F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53909816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 with Photo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6C539D-87AC-C042-872B-C6450B6A7F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62507" y="0"/>
            <a:ext cx="9338221" cy="4939234"/>
          </a:xfrm>
        </p:spPr>
        <p:txBody>
          <a:bodyPr/>
          <a:lstStyle>
            <a:lvl1pPr marL="35715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4401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5357383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71423"/>
          </a:xfrm>
        </p:spPr>
        <p:txBody>
          <a:bodyPr/>
          <a:lstStyle>
            <a:lvl1pPr>
              <a:defRPr baseline="0">
                <a:solidFill>
                  <a:srgbClr val="FFFF66"/>
                </a:solidFill>
              </a:defRPr>
            </a:lvl1pPr>
            <a:lvl2pPr>
              <a:defRPr baseline="0">
                <a:solidFill>
                  <a:schemeClr val="accent2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75824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4" name="Shape 654"/>
          <p:cNvSpPr txBox="1">
            <a:spLocks noGrp="1"/>
          </p:cNvSpPr>
          <p:nvPr>
            <p:ph type="body" idx="2" hasCustomPrompt="1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##</a:t>
            </a:r>
            <a:endParaRPr dirty="0"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48214424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96215439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37897145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Shape 676"/>
          <p:cNvSpPr txBox="1">
            <a:spLocks noGrp="1"/>
          </p:cNvSpPr>
          <p:nvPr>
            <p:ph type="title"/>
          </p:nvPr>
        </p:nvSpPr>
        <p:spPr>
          <a:xfrm>
            <a:off x="424953" y="760143"/>
            <a:ext cx="33894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7" name="Shape 677"/>
          <p:cNvSpPr>
            <a:spLocks noGrp="1"/>
          </p:cNvSpPr>
          <p:nvPr>
            <p:ph type="pic" idx="2"/>
          </p:nvPr>
        </p:nvSpPr>
        <p:spPr>
          <a:xfrm>
            <a:off x="4206240" y="758260"/>
            <a:ext cx="4937700" cy="537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picture</a:t>
            </a:r>
            <a:endParaRPr dirty="0"/>
          </a:p>
        </p:txBody>
      </p:sp>
      <p:sp>
        <p:nvSpPr>
          <p:cNvPr id="678" name="Shape 678"/>
          <p:cNvSpPr txBox="1">
            <a:spLocks noGrp="1"/>
          </p:cNvSpPr>
          <p:nvPr>
            <p:ph type="body" idx="1"/>
          </p:nvPr>
        </p:nvSpPr>
        <p:spPr>
          <a:xfrm>
            <a:off x="424952" y="2360342"/>
            <a:ext cx="3389400" cy="3811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79" name="Shape 679"/>
          <p:cNvSpPr txBox="1">
            <a:spLocks noGrp="1"/>
          </p:cNvSpPr>
          <p:nvPr>
            <p:ph type="body" idx="3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80" name="Shape 680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1" name="Shape 68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82" name="Shape 682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88965285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bg>
      <p:bgRef idx="1001">
        <a:schemeClr val="bg1"/>
      </p:bgRef>
    </p:bg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Shape 685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6" name="Shape 686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87" name="Shape 6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pic>
        <p:nvPicPr>
          <p:cNvPr id="688" name="Shape 6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57200" y="4709161"/>
            <a:ext cx="8217408" cy="21488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Shape 689"/>
          <p:cNvSpPr txBox="1"/>
          <p:nvPr/>
        </p:nvSpPr>
        <p:spPr>
          <a:xfrm>
            <a:off x="463351" y="1604565"/>
            <a:ext cx="8217300" cy="76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Thank </a:t>
            </a:r>
            <a:r>
              <a:rPr lang="en-US" sz="4400" b="1" dirty="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rPr>
              <a:t>you</a:t>
            </a:r>
            <a:r>
              <a:rPr lang="en-US" sz="44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!</a:t>
            </a:r>
            <a:endParaRPr sz="1100" b="0" i="0" dirty="0">
              <a:latin typeface="Arial (null)"/>
            </a:endParaRPr>
          </a:p>
        </p:txBody>
      </p:sp>
      <p:sp>
        <p:nvSpPr>
          <p:cNvPr id="8" name="Shape 655">
            <a:extLst>
              <a:ext uri="{FF2B5EF4-FFF2-40B4-BE49-F238E27FC236}">
                <a16:creationId xmlns:a16="http://schemas.microsoft.com/office/drawing/2014/main" id="{EF89A762-5238-7F40-81D4-E623241D55F9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63350" y="24677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Presenter’s contact information goes here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139887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52916" y="5401208"/>
            <a:ext cx="5589639" cy="1201994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1" i="0" spc="50" baseline="0">
                <a:solidFill>
                  <a:srgbClr val="FAFFB1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2440857" y="6546575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0431" y="412956"/>
            <a:ext cx="6803136" cy="3178276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6000" b="0" i="0" u="none" strike="noStrike" kern="1200" cap="none" spc="-100" normalizeH="0" baseline="0" dirty="0">
                <a:ln>
                  <a:noFill/>
                </a:ln>
                <a:solidFill>
                  <a:srgbClr val="2C7D88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35809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-1" y="-1753066"/>
          <a:ext cx="9144001" cy="68708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Image" r:id="rId3" imgW="13002840" imgH="9752040" progId="Photoshop.Image.13">
                  <p:embed/>
                </p:oleObj>
              </mc:Choice>
              <mc:Fallback>
                <p:oleObj name="Image" r:id="rId3" imgW="13002840" imgH="9752040" progId="Photoshop.Image.13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1" y="-1753066"/>
                        <a:ext cx="9144001" cy="68708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ysClr val="window" lastClr="FFFFFF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31920" y="1334222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sz="2000" spc="0" baseline="0">
                <a:solidFill>
                  <a:srgbClr val="FFFFFF"/>
                </a:solidFill>
                <a:latin typeface="Calibri" panose="020F0502020204030204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cs typeface="Arial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227008"/>
      </p:ext>
    </p:extLst>
  </p:cSld>
  <p:clrMapOvr>
    <a:masterClrMapping/>
  </p:clrMapOvr>
  <p:transition>
    <p:dissolv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17805"/>
          </a:xfrm>
          <a:prstGeom prst="rect">
            <a:avLst/>
          </a:prstGeom>
          <a:blipFill dpi="0" rotWithShape="1">
            <a:blip r:embed="rId2">
              <a:alphaModFix amt="40000"/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tile tx="-31750" ty="-120650" sx="100000" sy="100000" flip="xy" algn="tl"/>
          </a:blipFill>
          <a:ln w="19050" cmpd="sng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1275025"/>
            <a:ext cx="7182197" cy="4307950"/>
          </a:xfrm>
          <a:prstGeom prst="rect">
            <a:avLst/>
          </a:prstGeom>
          <a:solidFill>
            <a:schemeClr val="tx1"/>
          </a:solidFill>
          <a:ln w="6350" cap="flat" cmpd="sng" algn="ctr">
            <a:solidFill>
              <a:schemeClr val="tx1">
                <a:lumMod val="75000"/>
              </a:schemeClr>
            </a:solidFill>
            <a:prstDash val="solid"/>
          </a:ln>
          <a:effectLst>
            <a:outerShdw blurRad="63500" algn="ctr" rotWithShape="0">
              <a:prstClr val="black">
                <a:alpha val="40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8136" y="1385316"/>
            <a:ext cx="6967728" cy="4087368"/>
          </a:xfrm>
          <a:prstGeom prst="rect">
            <a:avLst/>
          </a:prstGeom>
          <a:solidFill>
            <a:schemeClr val="bg2"/>
          </a:solidFill>
          <a:ln w="6350" cap="sq" cmpd="sng" algn="ctr">
            <a:noFill/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794760" y="1274764"/>
            <a:ext cx="1554480" cy="64008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8100" dist="635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886200" y="1274765"/>
            <a:ext cx="1371600" cy="548640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rgbClr val="FFFFFF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72717" y="2094309"/>
            <a:ext cx="6803136" cy="2241717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kumimoji="0" lang="en-US" sz="4800" b="0" i="0" u="none" strike="noStrike" kern="1200" cap="none" spc="-100" normalizeH="0" baseline="0" dirty="0">
                <a:ln>
                  <a:noFill/>
                </a:ln>
                <a:solidFill>
                  <a:sysClr val="window" lastClr="FFFFFF"/>
                </a:solidFill>
                <a:effectLst>
                  <a:outerShdw blurRad="38100" dist="1270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31920" y="1332914"/>
            <a:ext cx="1280160" cy="457200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pc="0" baseline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478391" y="6603202"/>
            <a:ext cx="1584198" cy="22860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122" y="5842345"/>
            <a:ext cx="1860737" cy="8931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2440857" y="6554803"/>
            <a:ext cx="42622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1171575" y="4320955"/>
            <a:ext cx="6803136" cy="1069579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2400" b="0" spc="5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 marL="457200" indent="0" algn="ctr">
              <a:buNone/>
              <a:defRPr sz="1400"/>
            </a:lvl2pPr>
            <a:lvl3pPr marL="914400" indent="0" algn="ctr">
              <a:buNone/>
              <a:defRPr sz="1400"/>
            </a:lvl3pPr>
            <a:lvl4pPr marL="1371600" indent="0" algn="ctr">
              <a:buNone/>
              <a:defRPr sz="1400"/>
            </a:lvl4pPr>
            <a:lvl5pPr marL="1828800" indent="0" algn="ctr">
              <a:buNone/>
              <a:defRPr sz="1400"/>
            </a:lvl5pPr>
            <a:lvl6pPr marL="2286000" indent="0" algn="ctr">
              <a:buNone/>
              <a:defRPr sz="1400"/>
            </a:lvl6pPr>
            <a:lvl7pPr marL="2743200" indent="0" algn="ctr">
              <a:buNone/>
              <a:defRPr sz="1400"/>
            </a:lvl7pPr>
            <a:lvl8pPr marL="3200400" indent="0" algn="ctr">
              <a:buNone/>
              <a:defRPr sz="1400"/>
            </a:lvl8pPr>
            <a:lvl9pPr marL="3657600" indent="0" algn="ctr">
              <a:buNone/>
              <a:defRPr sz="14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41540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0764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677658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24600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133555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133774"/>
            <a:ext cx="7680960" cy="1371600"/>
          </a:xfrm>
        </p:spPr>
        <p:txBody>
          <a:bodyPr/>
          <a:lstStyle>
            <a:lvl1pPr>
              <a:defRPr>
                <a:solidFill>
                  <a:srgbClr val="5E5338"/>
                </a:solidFill>
                <a:effectLst>
                  <a:outerShdw blurRad="38100" dist="38100" dir="2700000" algn="tl">
                    <a:schemeClr val="bg1">
                      <a:lumMod val="65000"/>
                      <a:lumOff val="35000"/>
                      <a:alpha val="43000"/>
                    </a:scheme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1493274" y="1799662"/>
            <a:ext cx="6157452" cy="3495010"/>
          </a:xfrm>
        </p:spPr>
        <p:txBody>
          <a:bodyPr/>
          <a:lstStyle>
            <a:lvl1pPr>
              <a:defRPr sz="2800" baseline="0">
                <a:solidFill>
                  <a:schemeClr val="tx1"/>
                </a:solidFill>
              </a:defRPr>
            </a:lvl1pPr>
            <a:lvl2pPr>
              <a:defRPr baseline="0">
                <a:solidFill>
                  <a:srgbClr val="FFFF00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75525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371423"/>
          </a:xfrm>
        </p:spPr>
        <p:txBody>
          <a:bodyPr/>
          <a:lstStyle>
            <a:lvl1pPr>
              <a:defRPr baseline="0">
                <a:solidFill>
                  <a:srgbClr val="FFFF66"/>
                </a:solidFill>
              </a:defRPr>
            </a:lvl1pPr>
            <a:lvl2pPr>
              <a:defRPr baseline="0">
                <a:solidFill>
                  <a:schemeClr val="accent2">
                    <a:lumMod val="40000"/>
                    <a:lumOff val="6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36181" y="6383806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904572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152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54880" y="1881894"/>
            <a:ext cx="3657600" cy="3931920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639329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6604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66262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95665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390457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/>
        </p:nvSpPr>
        <p:spPr>
          <a:xfrm>
            <a:off x="6765290" y="173736"/>
            <a:ext cx="2194560" cy="5617464"/>
          </a:xfrm>
          <a:prstGeom prst="rect">
            <a:avLst/>
          </a:prstGeom>
          <a:solidFill>
            <a:schemeClr val="accent2">
              <a:lumMod val="20000"/>
              <a:lumOff val="80000"/>
              <a:alpha val="5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380637"/>
            <a:ext cx="1823085" cy="1645920"/>
          </a:xfrm>
        </p:spPr>
        <p:txBody>
          <a:bodyPr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cap="none" spc="0" baseline="0" dirty="0">
                <a:solidFill>
                  <a:schemeClr val="tx2">
                    <a:lumMod val="2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5999"/>
            <a:ext cx="1823085" cy="3303639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46853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3736"/>
            <a:ext cx="2194560" cy="5614416"/>
          </a:xfrm>
          <a:prstGeom prst="rect">
            <a:avLst/>
          </a:prstGeom>
          <a:solidFill>
            <a:schemeClr val="tx1"/>
          </a:solidFill>
          <a:ln w="6350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6884162" y="292608"/>
            <a:ext cx="1956816" cy="5378147"/>
          </a:xfrm>
          <a:prstGeom prst="rect">
            <a:avLst/>
          </a:prstGeom>
          <a:solidFill>
            <a:schemeClr val="bg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0456" y="379476"/>
            <a:ext cx="1824228" cy="1645920"/>
          </a:xfrm>
        </p:spPr>
        <p:txBody>
          <a:bodyPr anchor="ctr">
            <a:noAutofit/>
          </a:bodyPr>
          <a:lstStyle>
            <a:lvl1pPr algn="l">
              <a:defRPr sz="2400" b="1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2286000"/>
            <a:ext cx="1824228" cy="3274142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800"/>
              </a:spcBef>
              <a:buNone/>
              <a:defRPr sz="130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668976" y="380637"/>
            <a:ext cx="5428856" cy="520900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780426" y="6388161"/>
            <a:ext cx="1097280" cy="274320"/>
          </a:xfrm>
        </p:spPr>
        <p:txBody>
          <a:bodyPr/>
          <a:lstStyle>
            <a:lvl1pPr>
              <a:defRPr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76741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er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Enter Title Here Small Tex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295400" y="1905000"/>
            <a:ext cx="6858000" cy="4191000"/>
          </a:xfrm>
        </p:spPr>
        <p:txBody>
          <a:bodyPr/>
          <a:lstStyle>
            <a:lvl1pPr>
              <a:buSzPct val="100000"/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3"/>
          </p:nvPr>
        </p:nvSpPr>
        <p:spPr>
          <a:xfrm>
            <a:off x="1219200" y="6447116"/>
            <a:ext cx="5943600" cy="27016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1792999"/>
      </p:ext>
    </p:extLst>
  </p:cSld>
  <p:clrMapOvr>
    <a:masterClrMapping/>
  </p:clrMapOvr>
  <p:transition>
    <p:dissolv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1" name="Shape 621"/>
          <p:cNvSpPr txBox="1">
            <a:spLocks noGrp="1"/>
          </p:cNvSpPr>
          <p:nvPr>
            <p:ph type="ctrTitle" hasCustomPrompt="1"/>
          </p:nvPr>
        </p:nvSpPr>
        <p:spPr>
          <a:xfrm>
            <a:off x="443318" y="1604565"/>
            <a:ext cx="83085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Presentation Title</a:t>
            </a:r>
            <a:endParaRPr dirty="0"/>
          </a:p>
        </p:txBody>
      </p:sp>
      <p:cxnSp>
        <p:nvCxnSpPr>
          <p:cNvPr id="622" name="Shape 622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3" name="Shape 6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Presenters’ Names</a:t>
            </a:r>
            <a:endParaRPr dirty="0"/>
          </a:p>
        </p:txBody>
      </p:sp>
      <p:cxnSp>
        <p:nvCxnSpPr>
          <p:cNvPr id="627" name="Shape 627"/>
          <p:cNvCxnSpPr/>
          <p:nvPr/>
        </p:nvCxnSpPr>
        <p:spPr>
          <a:xfrm>
            <a:off x="0" y="1122363"/>
            <a:ext cx="91440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28" name="Shape 6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11890" y="235782"/>
            <a:ext cx="2833690" cy="77709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37207636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CCRC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5" name="Shape 605"/>
          <p:cNvPicPr preferRelativeResize="0"/>
          <p:nvPr/>
        </p:nvPicPr>
        <p:blipFill rotWithShape="1">
          <a:blip r:embed="rId2">
            <a:alphaModFix/>
          </a:blip>
          <a:srcRect l="52850" r="-52850"/>
          <a:stretch/>
        </p:blipFill>
        <p:spPr>
          <a:xfrm>
            <a:off x="5799141" y="939904"/>
            <a:ext cx="8031822" cy="537667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6" name="Shape 60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07" name="Shape 60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08" name="Shape 60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609" name="Shape 609"/>
          <p:cNvCxnSpPr/>
          <p:nvPr/>
        </p:nvCxnSpPr>
        <p:spPr>
          <a:xfrm>
            <a:off x="5799141" y="6319474"/>
            <a:ext cx="41148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10" name="Shape 610"/>
          <p:cNvSpPr txBox="1"/>
          <p:nvPr/>
        </p:nvSpPr>
        <p:spPr>
          <a:xfrm>
            <a:off x="424953" y="1390703"/>
            <a:ext cx="5280101" cy="5101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CCRC has been a leader in the field of community college research and reform for over 20 years. Our work provides a foundation for innovations in policy and practice that help give every community college student the best chance of success.</a:t>
            </a:r>
          </a:p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Pts val="2200"/>
              <a:buFont typeface="Arial"/>
              <a:buNone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Our areas of research include: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College readiness and dual enrollment programs, and the transition from high school to college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Developmental education and adult basic skill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Non-academic support services, financial aid, and student engagement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Online education and instructional technology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Student persistence and completion, and transfer to four-year colleges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Guided pathways, institutional reform, and performance funding </a:t>
            </a:r>
          </a:p>
          <a:p>
            <a:pPr marL="342865" marR="0" lvl="0" indent="-342865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1A2B6"/>
              </a:buClr>
              <a:buSzPts val="2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58" b="0" i="0" u="none" strike="noStrike" kern="0" cap="none" spc="-28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Workforce education and training and the economic returns to higher education</a:t>
            </a:r>
          </a:p>
        </p:txBody>
      </p:sp>
      <p:sp>
        <p:nvSpPr>
          <p:cNvPr id="611" name="Shape 611"/>
          <p:cNvSpPr txBox="1"/>
          <p:nvPr/>
        </p:nvSpPr>
        <p:spPr>
          <a:xfrm>
            <a:off x="424952" y="717843"/>
            <a:ext cx="3389400" cy="584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"/>
                <a:cs typeface="Arial"/>
                <a:sym typeface="Arial"/>
              </a:rPr>
              <a:t>About CCRC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860484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  <a:latin typeface="Calibri" panose="020F0502020204030204" pitchFamily="34" charset="0"/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1520" y="266604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857711"/>
            <a:ext cx="3657600" cy="64008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2000" b="1">
                <a:solidFill>
                  <a:schemeClr val="tx2">
                    <a:lumMod val="50000"/>
                  </a:schemeClr>
                </a:solidFill>
              </a:defRPr>
            </a:lvl1pPr>
            <a:lvl2pPr marL="457200" indent="0">
              <a:buNone/>
              <a:defRPr sz="19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662620"/>
            <a:ext cx="3657600" cy="3200400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53290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Horizontal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Shape 613"/>
          <p:cNvSpPr txBox="1">
            <a:spLocks noGrp="1"/>
          </p:cNvSpPr>
          <p:nvPr>
            <p:ph type="title"/>
          </p:nvPr>
        </p:nvSpPr>
        <p:spPr>
          <a:xfrm>
            <a:off x="424953" y="755654"/>
            <a:ext cx="8326800" cy="14378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14" name="Shape 614"/>
          <p:cNvSpPr>
            <a:spLocks noGrp="1"/>
          </p:cNvSpPr>
          <p:nvPr>
            <p:ph type="chart" idx="2"/>
          </p:nvPr>
        </p:nvSpPr>
        <p:spPr>
          <a:xfrm>
            <a:off x="424953" y="1475111"/>
            <a:ext cx="8327100" cy="499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15" name="Shape 615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16" name="Shape 616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17" name="Shape 6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18" name="Shape 618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99742087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ed List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Shape 631"/>
          <p:cNvSpPr txBox="1">
            <a:spLocks noGrp="1"/>
          </p:cNvSpPr>
          <p:nvPr>
            <p:ph type="body" idx="1" hasCustomPrompt="1"/>
          </p:nvPr>
        </p:nvSpPr>
        <p:spPr>
          <a:xfrm>
            <a:off x="425451" y="1554941"/>
            <a:ext cx="8366100" cy="1757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406358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531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485748" marR="0" lvl="3" indent="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tx2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bulleted list</a:t>
            </a:r>
          </a:p>
        </p:txBody>
      </p:sp>
      <p:sp>
        <p:nvSpPr>
          <p:cNvPr id="632" name="Shape 632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4116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33" name="Shape 633"/>
          <p:cNvCxnSpPr/>
          <p:nvPr/>
        </p:nvCxnSpPr>
        <p:spPr>
          <a:xfrm>
            <a:off x="1301144" y="377826"/>
            <a:ext cx="79344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34" name="Shape 6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35" name="Shape 635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36" name="Shape 636"/>
          <p:cNvSpPr txBox="1">
            <a:spLocks noGrp="1"/>
          </p:cNvSpPr>
          <p:nvPr>
            <p:ph type="body" idx="2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062884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- Image or Infographic - Additional Content Below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5"/>
            <a:ext cx="8366100" cy="1777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40" name="Shape 640"/>
          <p:cNvSpPr txBox="1">
            <a:spLocks noGrp="1"/>
          </p:cNvSpPr>
          <p:nvPr>
            <p:ph type="body" idx="2"/>
          </p:nvPr>
        </p:nvSpPr>
        <p:spPr>
          <a:xfrm>
            <a:off x="424952" y="4558145"/>
            <a:ext cx="8366100" cy="193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44" name="Shape 644"/>
          <p:cNvSpPr txBox="1">
            <a:spLocks noGrp="1"/>
          </p:cNvSpPr>
          <p:nvPr>
            <p:ph type="body" idx="3"/>
          </p:nvPr>
        </p:nvSpPr>
        <p:spPr>
          <a:xfrm>
            <a:off x="425451" y="1555750"/>
            <a:ext cx="8366100" cy="280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22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38096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35556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0214208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8" name="Shape 638"/>
          <p:cNvSpPr txBox="1">
            <a:spLocks noGrp="1"/>
          </p:cNvSpPr>
          <p:nvPr>
            <p:ph type="body" idx="1"/>
          </p:nvPr>
        </p:nvSpPr>
        <p:spPr>
          <a:xfrm>
            <a:off x="424952" y="6418474"/>
            <a:ext cx="83661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39" name="Shape 639"/>
          <p:cNvSpPr txBox="1">
            <a:spLocks noGrp="1"/>
          </p:cNvSpPr>
          <p:nvPr>
            <p:ph type="title"/>
          </p:nvPr>
        </p:nvSpPr>
        <p:spPr>
          <a:xfrm>
            <a:off x="424952" y="756694"/>
            <a:ext cx="8366100" cy="1093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C7B9A75B-E217-DF49-BF55-6FDAE6951F7B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25278" y="1850407"/>
            <a:ext cx="8366001" cy="4422155"/>
          </a:xfrm>
        </p:spPr>
        <p:txBody>
          <a:bodyPr/>
          <a:lstStyle>
            <a:lvl1pPr marL="35715" indent="0">
              <a:buNone/>
              <a:defRPr>
                <a:latin typeface="+mn-lt"/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02218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Shape 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41" name="Shape 641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42" name="Shape 6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43" name="Shape 643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379037158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Shape 646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4976"/>
            </a:solidFill>
            <a:prstDash val="solid"/>
            <a:miter lim="800000"/>
            <a:headEnd type="none" w="med" len="med"/>
            <a:tailEnd type="none" w="med" len="med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(null)"/>
              <a:ea typeface="Calibri"/>
              <a:cs typeface="Calibri"/>
              <a:sym typeface="Calibri"/>
            </a:endParaRPr>
          </a:p>
        </p:txBody>
      </p:sp>
      <p:sp>
        <p:nvSpPr>
          <p:cNvPr id="647" name="Shape 647"/>
          <p:cNvSpPr txBox="1">
            <a:spLocks noGrp="1"/>
          </p:cNvSpPr>
          <p:nvPr>
            <p:ph type="title" hasCustomPrompt="1"/>
          </p:nvPr>
        </p:nvSpPr>
        <p:spPr>
          <a:xfrm>
            <a:off x="424954" y="3860746"/>
            <a:ext cx="8183400" cy="7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sp>
        <p:nvSpPr>
          <p:cNvPr id="648" name="Shape 648"/>
          <p:cNvSpPr txBox="1">
            <a:spLocks noGrp="1"/>
          </p:cNvSpPr>
          <p:nvPr>
            <p:ph type="body" idx="1" hasCustomPrompt="1"/>
          </p:nvPr>
        </p:nvSpPr>
        <p:spPr>
          <a:xfrm>
            <a:off x="424954" y="4589464"/>
            <a:ext cx="8183400" cy="15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lt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Font typeface="Arial"/>
              <a:buNone/>
              <a:defRPr sz="16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Subtitle</a:t>
            </a:r>
            <a:endParaRPr dirty="0"/>
          </a:p>
        </p:txBody>
      </p:sp>
      <p:cxnSp>
        <p:nvCxnSpPr>
          <p:cNvPr id="649" name="Shape 649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0" name="Shape 6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51" name="Shape 651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8" name="Shape 641">
            <a:extLst>
              <a:ext uri="{FF2B5EF4-FFF2-40B4-BE49-F238E27FC236}">
                <a16:creationId xmlns:a16="http://schemas.microsoft.com/office/drawing/2014/main" id="{9B20BA1B-887B-174C-8CB0-37B31B39113D}"/>
              </a:ext>
            </a:extLst>
          </p:cNvPr>
          <p:cNvCxnSpPr/>
          <p:nvPr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9" name="Shape 642">
            <a:extLst>
              <a:ext uri="{FF2B5EF4-FFF2-40B4-BE49-F238E27FC236}">
                <a16:creationId xmlns:a16="http://schemas.microsoft.com/office/drawing/2014/main" id="{13BCC4FB-204A-8745-BC9C-341852AB75B5}"/>
              </a:ext>
            </a:extLst>
          </p:cNvPr>
          <p:cNvPicPr preferRelativeResize="0"/>
          <p:nvPr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0" name="Shape 643">
            <a:extLst>
              <a:ext uri="{FF2B5EF4-FFF2-40B4-BE49-F238E27FC236}">
                <a16:creationId xmlns:a16="http://schemas.microsoft.com/office/drawing/2014/main" id="{6C972082-3B63-5443-BA2C-3601AA6CE345}"/>
              </a:ext>
            </a:extLst>
          </p:cNvPr>
          <p:cNvCxnSpPr/>
          <p:nvPr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cxnSp>
        <p:nvCxnSpPr>
          <p:cNvPr id="11" name="Shape 641">
            <a:extLst>
              <a:ext uri="{FF2B5EF4-FFF2-40B4-BE49-F238E27FC236}">
                <a16:creationId xmlns:a16="http://schemas.microsoft.com/office/drawing/2014/main" id="{88766948-B31C-AC46-BD49-7A210FA45BC8}"/>
              </a:ext>
            </a:extLst>
          </p:cNvPr>
          <p:cNvCxnSpPr/>
          <p:nvPr userDrawn="1"/>
        </p:nvCxnSpPr>
        <p:spPr>
          <a:xfrm>
            <a:off x="1301145" y="368856"/>
            <a:ext cx="78429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12" name="Shape 642">
            <a:extLst>
              <a:ext uri="{FF2B5EF4-FFF2-40B4-BE49-F238E27FC236}">
                <a16:creationId xmlns:a16="http://schemas.microsoft.com/office/drawing/2014/main" id="{97781516-9DDB-B346-9BA4-A48471DD4D35}"/>
              </a:ext>
            </a:extLst>
          </p:cNvPr>
          <p:cNvPicPr preferRelativeResize="0"/>
          <p:nvPr userDrawn="1"/>
        </p:nvPicPr>
        <p:blipFill>
          <a:blip r:embed="rId3"/>
          <a:stretch>
            <a:fillRect/>
          </a:stretch>
        </p:blipFill>
        <p:spPr>
          <a:xfrm>
            <a:off x="490218" y="269828"/>
            <a:ext cx="711200" cy="19805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3" name="Shape 643">
            <a:extLst>
              <a:ext uri="{FF2B5EF4-FFF2-40B4-BE49-F238E27FC236}">
                <a16:creationId xmlns:a16="http://schemas.microsoft.com/office/drawing/2014/main" id="{C6F3FDED-D9DD-B348-9384-C4630989A30F}"/>
              </a:ext>
            </a:extLst>
          </p:cNvPr>
          <p:cNvCxnSpPr/>
          <p:nvPr userDrawn="1"/>
        </p:nvCxnSpPr>
        <p:spPr>
          <a:xfrm>
            <a:off x="0" y="368856"/>
            <a:ext cx="371700" cy="0"/>
          </a:xfrm>
          <a:prstGeom prst="straightConnector1">
            <a:avLst/>
          </a:prstGeom>
          <a:noFill/>
          <a:ln w="38100" cap="flat" cmpd="sng">
            <a:solidFill>
              <a:schemeClr val="bg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81831025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Slide with Photo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6C539D-87AC-C042-872B-C6450B6A7F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62507" y="0"/>
            <a:ext cx="9338221" cy="4939234"/>
          </a:xfrm>
        </p:spPr>
        <p:txBody>
          <a:bodyPr/>
          <a:lstStyle>
            <a:lvl1pPr marL="35715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26" name="Shape 626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Shape 620"/>
          <p:cNvSpPr/>
          <p:nvPr/>
        </p:nvSpPr>
        <p:spPr>
          <a:xfrm>
            <a:off x="0" y="4872039"/>
            <a:ext cx="9144000" cy="1986000"/>
          </a:xfrm>
          <a:prstGeom prst="rect">
            <a:avLst/>
          </a:prstGeom>
          <a:solidFill>
            <a:srgbClr val="0065A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302206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4" name="Shape 624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  <p:sp>
        <p:nvSpPr>
          <p:cNvPr id="625" name="Shape 625"/>
          <p:cNvSpPr txBox="1">
            <a:spLocks noGrp="1"/>
          </p:cNvSpPr>
          <p:nvPr>
            <p:ph type="subTitle" idx="1" hasCustomPrompt="1"/>
          </p:nvPr>
        </p:nvSpPr>
        <p:spPr>
          <a:xfrm>
            <a:off x="443320" y="5116967"/>
            <a:ext cx="8308499" cy="14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200"/>
              <a:buFont typeface="Arial"/>
              <a:buNone/>
              <a:defRPr sz="4401" b="1" i="0" u="none" strike="noStrike" cap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R="0" lvl="1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Arial"/>
              <a:buNone/>
              <a:defRPr sz="24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ctr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Font typeface="Arial"/>
              <a:buNone/>
              <a:defRPr sz="18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Click to Add Transition Title</a:t>
            </a:r>
            <a:endParaRPr dirty="0"/>
          </a:p>
        </p:txBody>
      </p:sp>
      <p:cxnSp>
        <p:nvCxnSpPr>
          <p:cNvPr id="629" name="Shape 629"/>
          <p:cNvCxnSpPr/>
          <p:nvPr/>
        </p:nvCxnSpPr>
        <p:spPr>
          <a:xfrm>
            <a:off x="381928" y="5116967"/>
            <a:ext cx="0" cy="1450200"/>
          </a:xfrm>
          <a:prstGeom prst="straightConnector1">
            <a:avLst/>
          </a:prstGeom>
          <a:noFill/>
          <a:ln w="38100" cap="flat" cmpd="sng">
            <a:solidFill>
              <a:schemeClr val="lt1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105186323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Pullout Number">
    <p:spTree>
      <p:nvGrpSpPr>
        <p:cNvPr id="1" name="Shape 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3" name="Shape 653"/>
          <p:cNvSpPr txBox="1">
            <a:spLocks noGrp="1"/>
          </p:cNvSpPr>
          <p:nvPr>
            <p:ph type="body" idx="1"/>
          </p:nvPr>
        </p:nvSpPr>
        <p:spPr>
          <a:xfrm>
            <a:off x="425450" y="3636963"/>
            <a:ext cx="3846600" cy="208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4" name="Shape 654"/>
          <p:cNvSpPr txBox="1">
            <a:spLocks noGrp="1"/>
          </p:cNvSpPr>
          <p:nvPr>
            <p:ph type="body" idx="2" hasCustomPrompt="1"/>
          </p:nvPr>
        </p:nvSpPr>
        <p:spPr>
          <a:xfrm>
            <a:off x="425450" y="2184400"/>
            <a:ext cx="3846600" cy="109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154" marR="0" lvl="0" indent="-228576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7200"/>
              <a:buFont typeface="Arial"/>
              <a:buNone/>
              <a:defRPr sz="7200" b="1" i="0" u="none" strike="noStrike" cap="none">
                <a:solidFill>
                  <a:schemeClr val="lt2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2000"/>
              <a:buFont typeface="Arial"/>
              <a:buNone/>
              <a:defRPr sz="20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2"/>
              </a:buClr>
              <a:buSzPts val="1800"/>
              <a:buFont typeface="Arial"/>
              <a:buNone/>
              <a:defRPr sz="1800" b="1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dirty="0"/>
              <a:t>##</a:t>
            </a:r>
            <a:endParaRPr dirty="0"/>
          </a:p>
        </p:txBody>
      </p:sp>
      <p:sp>
        <p:nvSpPr>
          <p:cNvPr id="655" name="Shape 655"/>
          <p:cNvSpPr txBox="1">
            <a:spLocks noGrp="1"/>
          </p:cNvSpPr>
          <p:nvPr>
            <p:ph type="title"/>
          </p:nvPr>
        </p:nvSpPr>
        <p:spPr>
          <a:xfrm>
            <a:off x="424952" y="760142"/>
            <a:ext cx="8326800" cy="1862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56" name="Shape 656"/>
          <p:cNvSpPr txBox="1">
            <a:spLocks noGrp="1"/>
          </p:cNvSpPr>
          <p:nvPr>
            <p:ph type="body" idx="3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57" name="Shape 657"/>
          <p:cNvSpPr>
            <a:spLocks noGrp="1"/>
          </p:cNvSpPr>
          <p:nvPr>
            <p:ph type="chart" idx="4"/>
          </p:nvPr>
        </p:nvSpPr>
        <p:spPr>
          <a:xfrm>
            <a:off x="4716464" y="1476375"/>
            <a:ext cx="4035300" cy="48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cxnSp>
        <p:nvCxnSpPr>
          <p:cNvPr id="658" name="Shape 658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59" name="Shape 65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0" name="Shape 660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77494477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&amp; Title - Vertical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Shape 662"/>
          <p:cNvSpPr txBox="1">
            <a:spLocks noGrp="1"/>
          </p:cNvSpPr>
          <p:nvPr>
            <p:ph type="title"/>
          </p:nvPr>
        </p:nvSpPr>
        <p:spPr>
          <a:xfrm>
            <a:off x="424953" y="610068"/>
            <a:ext cx="2246700" cy="5767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  <a:defRPr sz="3199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63" name="Shape 663"/>
          <p:cNvSpPr>
            <a:spLocks noGrp="1"/>
          </p:cNvSpPr>
          <p:nvPr>
            <p:ph type="chart" idx="2"/>
          </p:nvPr>
        </p:nvSpPr>
        <p:spPr>
          <a:xfrm>
            <a:off x="2814639" y="627018"/>
            <a:ext cx="6133500" cy="575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35715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/>
              <a:t>Click icon to add chart</a:t>
            </a:r>
            <a:endParaRPr dirty="0"/>
          </a:p>
        </p:txBody>
      </p:sp>
      <p:sp>
        <p:nvSpPr>
          <p:cNvPr id="664" name="Shape 664"/>
          <p:cNvSpPr txBox="1">
            <a:spLocks noGrp="1"/>
          </p:cNvSpPr>
          <p:nvPr>
            <p:ph type="body" idx="1"/>
          </p:nvPr>
        </p:nvSpPr>
        <p:spPr>
          <a:xfrm>
            <a:off x="424953" y="6418474"/>
            <a:ext cx="8326800" cy="36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34286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65" name="Shape 665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66" name="Shape 6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67" name="Shape 667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418640028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ll Quote">
    <p:spTree>
      <p:nvGrpSpPr>
        <p:cNvPr id="1" name="Shape 6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9" name="Shape 669"/>
          <p:cNvSpPr txBox="1">
            <a:spLocks noGrp="1"/>
          </p:cNvSpPr>
          <p:nvPr>
            <p:ph type="title"/>
          </p:nvPr>
        </p:nvSpPr>
        <p:spPr>
          <a:xfrm>
            <a:off x="3415902" y="3093209"/>
            <a:ext cx="4985100" cy="978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None/>
              <a:defRPr sz="3200" b="1" i="0" u="none" strike="noStrike" cap="none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670" name="Shape 670"/>
          <p:cNvSpPr txBox="1">
            <a:spLocks noGrp="1"/>
          </p:cNvSpPr>
          <p:nvPr>
            <p:ph type="body" idx="1"/>
          </p:nvPr>
        </p:nvSpPr>
        <p:spPr>
          <a:xfrm>
            <a:off x="3415901" y="4436811"/>
            <a:ext cx="4985100" cy="160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0A2B6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914306" marR="0" lvl="1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460" marR="0" lvl="2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613" marR="0" lvl="3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5766" marR="0" lvl="4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2920" marR="0" lvl="5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072" marR="0" lvl="6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226" marR="0" lvl="7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379" marR="0" lvl="8" indent="-22857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671" name="Shape 6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3429" y="1294274"/>
            <a:ext cx="1475430" cy="147543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2" name="Shape 672"/>
          <p:cNvCxnSpPr/>
          <p:nvPr/>
        </p:nvCxnSpPr>
        <p:spPr>
          <a:xfrm>
            <a:off x="1301145" y="377826"/>
            <a:ext cx="78429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  <p:pic>
        <p:nvPicPr>
          <p:cNvPr id="673" name="Shape 67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90218" y="261705"/>
            <a:ext cx="711200" cy="232242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674" name="Shape 674"/>
          <p:cNvCxnSpPr/>
          <p:nvPr/>
        </p:nvCxnSpPr>
        <p:spPr>
          <a:xfrm>
            <a:off x="0" y="377826"/>
            <a:ext cx="371700" cy="0"/>
          </a:xfrm>
          <a:prstGeom prst="straightConnector1">
            <a:avLst/>
          </a:prstGeom>
          <a:noFill/>
          <a:ln w="38100" cap="flat" cmpd="sng">
            <a:solidFill>
              <a:srgbClr val="0065A4"/>
            </a:solidFill>
            <a:prstDash val="solid"/>
            <a:miter lim="800000"/>
            <a:headEnd type="none" w="med" len="med"/>
            <a:tailEnd type="none" w="med" len="med"/>
          </a:ln>
        </p:spPr>
      </p:cxnSp>
    </p:spTree>
    <p:extLst>
      <p:ext uri="{BB962C8B-B14F-4D97-AF65-F5344CB8AC3E}">
        <p14:creationId xmlns:p14="http://schemas.microsoft.com/office/powerpoint/2010/main" val="21571921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hyperlink" Target="http://www.inquiry2improvement.com/" TargetMode="Externa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70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2" Type="http://schemas.openxmlformats.org/officeDocument/2006/relationships/slideLayout" Target="../slideLayouts/slideLayout76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89.xml"/><Relationship Id="rId16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6809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00777"/>
            <a:ext cx="7680960" cy="404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80426" y="6388161"/>
            <a:ext cx="10972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05" y="6201697"/>
            <a:ext cx="339227" cy="59364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704268" y="6390406"/>
            <a:ext cx="19363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  <a:hlinkClick r:id="rId17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19" y="6397780"/>
            <a:ext cx="34770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National Center for Inquiry &amp; Improvement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1219200" y="6551551"/>
            <a:ext cx="6553200" cy="270165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algn="l" rtl="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b="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46630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</p:sldLayoutIdLst>
  <p:transition>
    <p:dissolv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spc="0" baseline="0" dirty="0">
          <a:solidFill>
            <a:schemeClr val="tx1"/>
          </a:solidFill>
          <a:effectLst>
            <a:outerShdw blurRad="50800" dist="25400" dir="5400000" algn="tl">
              <a:schemeClr val="accent4">
                <a:lumMod val="50000"/>
                <a:alpha val="42000"/>
              </a:schemeClr>
            </a:outerShdw>
          </a:effectLst>
          <a:latin typeface="Calibri" panose="020F0502020204030204" pitchFamily="34" charset="0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FFFF66"/>
        </a:buClr>
        <a:buFont typeface="Arial" panose="020B0604020202020204" pitchFamily="34" charset="0"/>
        <a:buChar char="•"/>
        <a:defRPr sz="2800" b="1" kern="1200">
          <a:solidFill>
            <a:srgbClr val="2C7D88"/>
          </a:solidFill>
          <a:latin typeface="Calibri" panose="020F050202020403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rgbClr val="FFFF00"/>
        </a:buClr>
        <a:buFont typeface="Wingdings" panose="05000000000000000000" pitchFamily="2" charset="2"/>
        <a:buChar char="ü"/>
        <a:defRPr sz="2400" b="1" kern="1200">
          <a:solidFill>
            <a:srgbClr val="399C08"/>
          </a:solidFill>
          <a:latin typeface="Calibri" panose="020F0502020204030204" pitchFamily="34" charset="0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rgbClr val="258EB3"/>
            </a:gs>
            <a:gs pos="50000">
              <a:srgbClr val="258EB3">
                <a:gamma/>
                <a:tint val="39216"/>
                <a:invGamma/>
              </a:srgbClr>
            </a:gs>
            <a:gs pos="100000">
              <a:srgbClr val="258EB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0338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7136" y="277526"/>
            <a:ext cx="9150334" cy="5987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70350" name="Group 14"/>
          <p:cNvGrpSpPr>
            <a:grpSpLocks/>
          </p:cNvGrpSpPr>
          <p:nvPr userDrawn="1"/>
        </p:nvGrpSpPr>
        <p:grpSpPr bwMode="auto">
          <a:xfrm>
            <a:off x="152400" y="6297613"/>
            <a:ext cx="457200" cy="458787"/>
            <a:chOff x="566" y="4031"/>
            <a:chExt cx="288" cy="289"/>
          </a:xfrm>
        </p:grpSpPr>
        <p:sp>
          <p:nvSpPr>
            <p:cNvPr id="270351" name="Oval 15"/>
            <p:cNvSpPr>
              <a:spLocks noChangeArrowheads="1"/>
            </p:cNvSpPr>
            <p:nvPr/>
          </p:nvSpPr>
          <p:spPr bwMode="auto">
            <a:xfrm>
              <a:off x="566" y="4032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alpha val="50000"/>
                  </a:schemeClr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path path="shape">
                <a:fillToRect l="50000" t="50000" r="50000" b="50000"/>
              </a:path>
            </a:gradFill>
            <a:ln w="38100">
              <a:solidFill>
                <a:srgbClr val="33333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0352" name="AutoShape 16"/>
            <p:cNvSpPr>
              <a:spLocks noChangeArrowheads="1"/>
            </p:cNvSpPr>
            <p:nvPr/>
          </p:nvSpPr>
          <p:spPr bwMode="auto">
            <a:xfrm>
              <a:off x="612" y="4090"/>
              <a:ext cx="182" cy="173"/>
            </a:xfrm>
            <a:prstGeom prst="leftArrow">
              <a:avLst>
                <a:gd name="adj1" fmla="val 54731"/>
                <a:gd name="adj2" fmla="val 47672"/>
              </a:avLst>
            </a:prstGeom>
            <a:solidFill>
              <a:srgbClr val="FFFF00">
                <a:alpha val="67000"/>
              </a:srgbClr>
            </a:solidFill>
            <a:ln w="254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70353" name="Oval 17">
              <a:hlinkClick r:id="" action="ppaction://hlinkshowjump?jump=previousslide"/>
            </p:cNvPr>
            <p:cNvSpPr>
              <a:spLocks noChangeArrowheads="1"/>
            </p:cNvSpPr>
            <p:nvPr/>
          </p:nvSpPr>
          <p:spPr bwMode="auto">
            <a:xfrm>
              <a:off x="566" y="4031"/>
              <a:ext cx="288" cy="288"/>
            </a:xfrm>
            <a:prstGeom prst="ellipse">
              <a:avLst/>
            </a:prstGeom>
            <a:solidFill>
              <a:srgbClr val="FF0000">
                <a:alpha val="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270354" name="Group 18"/>
          <p:cNvGrpSpPr>
            <a:grpSpLocks/>
          </p:cNvGrpSpPr>
          <p:nvPr userDrawn="1"/>
        </p:nvGrpSpPr>
        <p:grpSpPr bwMode="auto">
          <a:xfrm>
            <a:off x="7620000" y="176213"/>
            <a:ext cx="1371600" cy="328612"/>
            <a:chOff x="4690" y="1023"/>
            <a:chExt cx="864" cy="207"/>
          </a:xfrm>
        </p:grpSpPr>
        <p:sp>
          <p:nvSpPr>
            <p:cNvPr id="270355" name="WordArt 19" descr="30%"/>
            <p:cNvSpPr>
              <a:spLocks noChangeArrowheads="1" noChangeShapeType="1" noTextEdit="1"/>
            </p:cNvSpPr>
            <p:nvPr/>
          </p:nvSpPr>
          <p:spPr bwMode="auto">
            <a:xfrm>
              <a:off x="4690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 dirty="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  <p:sp>
          <p:nvSpPr>
            <p:cNvPr id="270356" name="WordArt 20" descr="30%"/>
            <p:cNvSpPr>
              <a:spLocks noChangeArrowheads="1" noChangeShapeType="1" noTextEdit="1"/>
            </p:cNvSpPr>
            <p:nvPr/>
          </p:nvSpPr>
          <p:spPr bwMode="auto">
            <a:xfrm>
              <a:off x="4988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  <p:sp>
          <p:nvSpPr>
            <p:cNvPr id="270357" name="WordArt 21" descr="30%"/>
            <p:cNvSpPr>
              <a:spLocks noChangeArrowheads="1" noChangeShapeType="1" noTextEdit="1"/>
            </p:cNvSpPr>
            <p:nvPr/>
          </p:nvSpPr>
          <p:spPr bwMode="auto">
            <a:xfrm>
              <a:off x="5287" y="1023"/>
              <a:ext cx="267" cy="207"/>
            </a:xfrm>
            <a:prstGeom prst="rect">
              <a:avLst/>
            </a:prstGeom>
            <a:extLs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wrap="none" fromWordArt="1">
              <a:prstTxWarp prst="textPlain">
                <a:avLst>
                  <a:gd name="adj" fmla="val 50000"/>
                </a:avLst>
              </a:prstTxWarp>
            </a:bodyPr>
            <a:lstStyle/>
            <a:p>
              <a:pPr algn="ctr"/>
              <a:r>
                <a:rPr lang="en-US" sz="3600" i="1" kern="10">
                  <a:ln w="25400">
                    <a:solidFill>
                      <a:srgbClr val="808080"/>
                    </a:solidFill>
                    <a:miter lim="800000"/>
                    <a:headEnd/>
                    <a:tailEnd/>
                  </a:ln>
                  <a:pattFill prst="pct30">
                    <a:fgClr>
                      <a:schemeClr val="bg2"/>
                    </a:fgClr>
                    <a:bgClr>
                      <a:schemeClr val="accent1"/>
                    </a:bgClr>
                  </a:pattFill>
                  <a:effectLst/>
                  <a:latin typeface="Arial Black"/>
                </a:rPr>
                <a:t>X</a:t>
              </a:r>
            </a:p>
          </p:txBody>
        </p:sp>
      </p:grpSp>
      <p:sp>
        <p:nvSpPr>
          <p:cNvPr id="16" name="Rectangle 61"/>
          <p:cNvSpPr>
            <a:spLocks noChangeArrowheads="1"/>
          </p:cNvSpPr>
          <p:nvPr userDrawn="1"/>
        </p:nvSpPr>
        <p:spPr bwMode="auto">
          <a:xfrm>
            <a:off x="833438" y="1449402"/>
            <a:ext cx="7472362" cy="4113198"/>
          </a:xfrm>
          <a:prstGeom prst="rect">
            <a:avLst/>
          </a:prstGeom>
          <a:gradFill rotWithShape="0">
            <a:gsLst>
              <a:gs pos="0">
                <a:srgbClr val="FFFFFF">
                  <a:gamma/>
                  <a:shade val="46275"/>
                  <a:invGamma/>
                </a:srgbClr>
              </a:gs>
              <a:gs pos="50000">
                <a:srgbClr val="FFFFFF"/>
              </a:gs>
              <a:gs pos="100000">
                <a:srgbClr val="FFFFFF">
                  <a:gamma/>
                  <a:shade val="46275"/>
                  <a:invGamma/>
                </a:srgbClr>
              </a:gs>
            </a:gsLst>
            <a:lin ang="5400000" scaled="1"/>
          </a:gradFill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altLang="en-US" sz="6600" b="1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pic>
        <p:nvPicPr>
          <p:cNvPr id="17" name="Picture 6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05000" y="1702572"/>
            <a:ext cx="5338762" cy="3602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oup 14"/>
          <p:cNvGrpSpPr>
            <a:grpSpLocks/>
          </p:cNvGrpSpPr>
          <p:nvPr userDrawn="1"/>
        </p:nvGrpSpPr>
        <p:grpSpPr bwMode="auto">
          <a:xfrm rot="10800000">
            <a:off x="688976" y="6297613"/>
            <a:ext cx="457200" cy="458787"/>
            <a:chOff x="566" y="4031"/>
            <a:chExt cx="288" cy="289"/>
          </a:xfrm>
        </p:grpSpPr>
        <p:sp>
          <p:nvSpPr>
            <p:cNvPr id="19" name="Oval 15"/>
            <p:cNvSpPr>
              <a:spLocks noChangeArrowheads="1"/>
            </p:cNvSpPr>
            <p:nvPr/>
          </p:nvSpPr>
          <p:spPr bwMode="auto">
            <a:xfrm>
              <a:off x="566" y="4032"/>
              <a:ext cx="288" cy="288"/>
            </a:xfrm>
            <a:prstGeom prst="ellipse">
              <a:avLst/>
            </a:prstGeom>
            <a:gradFill rotWithShape="1">
              <a:gsLst>
                <a:gs pos="0">
                  <a:schemeClr val="accent1">
                    <a:alpha val="50000"/>
                  </a:schemeClr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path path="shape">
                <a:fillToRect l="50000" t="50000" r="50000" b="50000"/>
              </a:path>
            </a:gradFill>
            <a:ln w="38100">
              <a:solidFill>
                <a:srgbClr val="333333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0" name="AutoShape 16"/>
            <p:cNvSpPr>
              <a:spLocks noChangeArrowheads="1"/>
            </p:cNvSpPr>
            <p:nvPr/>
          </p:nvSpPr>
          <p:spPr bwMode="auto">
            <a:xfrm>
              <a:off x="612" y="4090"/>
              <a:ext cx="182" cy="173"/>
            </a:xfrm>
            <a:prstGeom prst="leftArrow">
              <a:avLst>
                <a:gd name="adj1" fmla="val 54731"/>
                <a:gd name="adj2" fmla="val 47672"/>
              </a:avLst>
            </a:prstGeom>
            <a:solidFill>
              <a:srgbClr val="FFFF00">
                <a:alpha val="67000"/>
              </a:srgbClr>
            </a:solidFill>
            <a:ln w="254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1" name="Oval 17">
              <a:hlinkClick r:id="" action="ppaction://hlinkshowjump?jump=nextslide"/>
            </p:cNvPr>
            <p:cNvSpPr>
              <a:spLocks noChangeArrowheads="1"/>
            </p:cNvSpPr>
            <p:nvPr/>
          </p:nvSpPr>
          <p:spPr bwMode="auto">
            <a:xfrm>
              <a:off x="566" y="4031"/>
              <a:ext cx="288" cy="288"/>
            </a:xfrm>
            <a:prstGeom prst="ellipse">
              <a:avLst/>
            </a:prstGeom>
            <a:solidFill>
              <a:srgbClr val="FF0000">
                <a:alpha val="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25400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77519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7" r:id="rId1"/>
    <p:sldLayoutId id="2147484808" r:id="rId2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34963" y="762000"/>
            <a:ext cx="8229600" cy="11496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4963" y="2008824"/>
            <a:ext cx="8229600" cy="4485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29412" tIns="64707" rIns="129412" bIns="647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6715125" y="6372226"/>
            <a:ext cx="183828" cy="4598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391" kern="120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457200" y="528320"/>
            <a:ext cx="8229600" cy="172720"/>
          </a:xfrm>
          <a:prstGeom prst="rect">
            <a:avLst/>
          </a:prstGeom>
          <a:solidFill>
            <a:srgbClr val="14131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993" tIns="45497" rIns="90993" bIns="45497" numCol="1" rtlCol="0" anchor="t" anchorCtr="0" compatLnSpc="1">
            <a:prstTxWarp prst="textNoShape">
              <a:avLst/>
            </a:prstTxWarp>
          </a:bodyPr>
          <a:lstStyle/>
          <a:p>
            <a:pPr defTabSz="639818" eaLnBrk="0" fontAlgn="base">
              <a:spcBef>
                <a:spcPct val="0"/>
              </a:spcBef>
              <a:spcAft>
                <a:spcPct val="0"/>
              </a:spcAft>
            </a:pPr>
            <a:endParaRPr lang="en-US" sz="2391" kern="1200">
              <a:latin typeface="Arial" charset="0"/>
              <a:ea typeface="ヒラギノ角ゴ Pro W3" charset="-128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365760" y="279911"/>
            <a:ext cx="3251200" cy="200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993" tIns="45497" rIns="90993" bIns="45497">
            <a:prstTxWarp prst="textNoShape">
              <a:avLst/>
            </a:prstTxWarp>
            <a:spAutoFit/>
          </a:bodyPr>
          <a:lstStyle/>
          <a:p>
            <a:pPr defTabSz="639818" eaLnBrk="0" fontAlgn="base">
              <a:spcBef>
                <a:spcPts val="230"/>
              </a:spcBef>
              <a:spcAft>
                <a:spcPct val="0"/>
              </a:spcAft>
              <a:defRPr/>
            </a:pPr>
            <a:r>
              <a:rPr lang="en-US" sz="703" b="1" kern="1200" dirty="0">
                <a:solidFill>
                  <a:srgbClr val="00539B"/>
                </a:solidFill>
                <a:latin typeface="Arial" charset="0"/>
                <a:ea typeface="ヒラギノ角ゴ Pro W3" charset="-128"/>
              </a:rPr>
              <a:t>COMMUNITY COLLEGE RESEARCH CENTER</a:t>
            </a:r>
            <a:endParaRPr lang="en-US" sz="703" kern="1200" dirty="0">
              <a:solidFill>
                <a:srgbClr val="00539B"/>
              </a:solidFill>
              <a:latin typeface="Arial" charset="0"/>
              <a:ea typeface="ヒラギノ角ゴ Pro W3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58328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9" r:id="rId1"/>
    <p:sldLayoutId id="2147484870" r:id="rId2"/>
    <p:sldLayoutId id="2147484871" r:id="rId3"/>
    <p:sldLayoutId id="2147484872" r:id="rId4"/>
    <p:sldLayoutId id="2147484873" r:id="rId5"/>
    <p:sldLayoutId id="2147484874" r:id="rId6"/>
    <p:sldLayoutId id="2147484875" r:id="rId7"/>
    <p:sldLayoutId id="2147484876" r:id="rId8"/>
    <p:sldLayoutId id="2147484877" r:id="rId9"/>
    <p:sldLayoutId id="2147484878" r:id="rId10"/>
    <p:sldLayoutId id="2147484879" r:id="rId11"/>
    <p:sldLayoutId id="2147484880" r:id="rId12"/>
  </p:sldLayoutIdLst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34" b="1">
          <a:solidFill>
            <a:srgbClr val="141313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5pPr>
      <a:lvl6pPr marL="454961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6pPr>
      <a:lvl7pPr marL="909956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7pPr>
      <a:lvl8pPr marL="1364950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8pPr>
      <a:lvl9pPr marL="1819931" algn="l" rtl="0" fontAlgn="base">
        <a:spcBef>
          <a:spcPct val="0"/>
        </a:spcBef>
        <a:spcAft>
          <a:spcPct val="0"/>
        </a:spcAft>
        <a:defRPr sz="2531" b="1">
          <a:solidFill>
            <a:schemeClr val="bg1"/>
          </a:solidFill>
          <a:latin typeface="Arial" charset="0"/>
          <a:ea typeface="ヒラギノ角ゴ Pro W3" charset="-128"/>
          <a:cs typeface="ヒラギノ角ゴ Pro W3" charset="-128"/>
        </a:defRPr>
      </a:lvl9pPr>
    </p:titleStyle>
    <p:bodyStyle>
      <a:lvl1pPr marL="169040" indent="-16904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>
          <a:solidFill>
            <a:srgbClr val="141313"/>
          </a:solidFill>
          <a:latin typeface="+mn-lt"/>
          <a:ea typeface="+mn-ea"/>
          <a:cs typeface="+mn-cs"/>
        </a:defRPr>
      </a:lvl1pPr>
      <a:lvl2pPr marL="565570" indent="-221180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>
          <a:solidFill>
            <a:srgbClr val="141313"/>
          </a:solidFill>
          <a:latin typeface="+mn-lt"/>
          <a:ea typeface="+mn-ea"/>
        </a:defRPr>
      </a:lvl2pPr>
      <a:lvl3pPr marL="737757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1617">
          <a:solidFill>
            <a:srgbClr val="141313"/>
          </a:solidFill>
          <a:latin typeface="+mn-lt"/>
          <a:ea typeface="+mn-ea"/>
        </a:defRPr>
      </a:lvl3pPr>
      <a:lvl4pPr marL="909956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–"/>
        <a:defRPr sz="1617">
          <a:solidFill>
            <a:srgbClr val="141313"/>
          </a:solidFill>
          <a:latin typeface="+mn-lt"/>
          <a:ea typeface="+mn-ea"/>
        </a:defRPr>
      </a:lvl4pPr>
      <a:lvl5pPr marL="1082173" indent="-172183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»"/>
        <a:tabLst>
          <a:tab pos="1082173" algn="l"/>
        </a:tabLst>
        <a:defRPr sz="1406">
          <a:solidFill>
            <a:srgbClr val="141313"/>
          </a:solidFill>
          <a:latin typeface="+mn-lt"/>
          <a:ea typeface="+mn-ea"/>
        </a:defRPr>
      </a:lvl5pPr>
      <a:lvl6pPr marL="2443950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6pPr>
      <a:lvl7pPr marL="2898925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7pPr>
      <a:lvl8pPr marL="3353907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8pPr>
      <a:lvl9pPr marL="3808898" indent="-169040" algn="l" rtl="0" fontAlgn="base">
        <a:spcBef>
          <a:spcPct val="20000"/>
        </a:spcBef>
        <a:spcAft>
          <a:spcPct val="0"/>
        </a:spcAft>
        <a:buClr>
          <a:schemeClr val="accent1"/>
        </a:buClr>
        <a:buChar char="»"/>
        <a:defRPr sz="1406">
          <a:solidFill>
            <a:srgbClr val="00539B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1pPr>
      <a:lvl2pPr marL="45496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2pPr>
      <a:lvl3pPr marL="909956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3pPr>
      <a:lvl4pPr marL="1364950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4pPr>
      <a:lvl5pPr marL="181993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5pPr>
      <a:lvl6pPr marL="2274931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6pPr>
      <a:lvl7pPr marL="2729898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7pPr>
      <a:lvl8pPr marL="3184879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8pPr>
      <a:lvl9pPr marL="3639846" algn="l" defTabSz="454961" rtl="0" eaLnBrk="1" latinLnBrk="0" hangingPunct="1">
        <a:defRPr sz="182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1004382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4917" r:id="rId1"/>
    <p:sldLayoutId id="2147484918" r:id="rId2"/>
    <p:sldLayoutId id="2147484919" r:id="rId3"/>
    <p:sldLayoutId id="2147484920" r:id="rId4"/>
    <p:sldLayoutId id="2147484921" r:id="rId5"/>
    <p:sldLayoutId id="2147484922" r:id="rId6"/>
    <p:sldLayoutId id="2147484923" r:id="rId7"/>
    <p:sldLayoutId id="2147484924" r:id="rId8"/>
    <p:sldLayoutId id="2147484925" r:id="rId9"/>
    <p:sldLayoutId id="2147484926" r:id="rId10"/>
    <p:sldLayoutId id="2147484927" r:id="rId11"/>
    <p:sldLayoutId id="2147484928" r:id="rId12"/>
    <p:sldLayoutId id="2147484929" r:id="rId13"/>
    <p:sldLayoutId id="2147484930" r:id="rId14"/>
    <p:sldLayoutId id="2147484931" r:id="rId1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4848243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022" r:id="rId1"/>
    <p:sldLayoutId id="2147485023" r:id="rId2"/>
    <p:sldLayoutId id="2147485024" r:id="rId3"/>
    <p:sldLayoutId id="2147485025" r:id="rId4"/>
    <p:sldLayoutId id="2147485026" r:id="rId5"/>
    <p:sldLayoutId id="2147485027" r:id="rId6"/>
    <p:sldLayoutId id="2147485028" r:id="rId7"/>
    <p:sldLayoutId id="2147485029" r:id="rId8"/>
    <p:sldLayoutId id="2147485030" r:id="rId9"/>
    <p:sldLayoutId id="2147485031" r:id="rId10"/>
    <p:sldLayoutId id="2147485032" r:id="rId11"/>
    <p:sldLayoutId id="2147485033" r:id="rId12"/>
    <p:sldLayoutId id="2147485034" r:id="rId13"/>
    <p:sldLayoutId id="2147485035" r:id="rId14"/>
    <p:sldLayoutId id="2147485036" r:id="rId15"/>
    <p:sldLayoutId id="2147485037" r:id="rId16"/>
    <p:sldLayoutId id="2147485038" r:id="rId17"/>
    <p:sldLayoutId id="2147485039" r:id="rId1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9477233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041" r:id="rId1"/>
    <p:sldLayoutId id="2147485042" r:id="rId2"/>
    <p:sldLayoutId id="2147485043" r:id="rId3"/>
    <p:sldLayoutId id="2147485044" r:id="rId4"/>
    <p:sldLayoutId id="2147485045" r:id="rId5"/>
    <p:sldLayoutId id="2147485046" r:id="rId6"/>
    <p:sldLayoutId id="2147485047" r:id="rId7"/>
    <p:sldLayoutId id="2147485048" r:id="rId8"/>
    <p:sldLayoutId id="2147485049" r:id="rId9"/>
    <p:sldLayoutId id="2147485050" r:id="rId10"/>
    <p:sldLayoutId id="2147485051" r:id="rId11"/>
    <p:sldLayoutId id="2147485052" r:id="rId12"/>
    <p:sldLayoutId id="2147485053" r:id="rId13"/>
    <p:sldLayoutId id="2147485054" r:id="rId14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n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520" y="317863"/>
            <a:ext cx="7680960" cy="1371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520" y="1800777"/>
            <a:ext cx="7680960" cy="40469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80426" y="6388161"/>
            <a:ext cx="1097280" cy="2743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>
                <a:solidFill>
                  <a:schemeClr val="tx2">
                    <a:lumMod val="2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  <a:latin typeface="Arial" pitchFamily="34" charset="0"/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E3DED1">
                  <a:lumMod val="2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705" y="6201697"/>
            <a:ext cx="339227" cy="593648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704268" y="6390406"/>
            <a:ext cx="19363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www.ncii-improve.com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45319" y="6397780"/>
            <a:ext cx="347704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>
              <a:defRPr/>
            </a:pPr>
            <a:r>
              <a:rPr lang="en-US" sz="1200" b="1" spc="100" dirty="0">
                <a:solidFill>
                  <a:srgbClr val="E3DED1">
                    <a:lumMod val="25000"/>
                  </a:srgbClr>
                </a:solidFill>
                <a:latin typeface="Calibri" panose="020F0502020204030204" pitchFamily="34" charset="0"/>
                <a:cs typeface="Arial" pitchFamily="34" charset="0"/>
              </a:rPr>
              <a:t>National Center for Inquiry &amp; Improvement</a:t>
            </a:r>
            <a:endParaRPr lang="en-US" b="1" spc="100" dirty="0">
              <a:solidFill>
                <a:srgbClr val="E3DED1">
                  <a:lumMod val="25000"/>
                </a:srgbClr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3" name="Footer Placeholder 2"/>
          <p:cNvSpPr txBox="1">
            <a:spLocks/>
          </p:cNvSpPr>
          <p:nvPr userDrawn="1"/>
        </p:nvSpPr>
        <p:spPr>
          <a:xfrm>
            <a:off x="1219200" y="6551551"/>
            <a:ext cx="6553200" cy="270165"/>
          </a:xfrm>
          <a:prstGeom prst="rect">
            <a:avLst/>
          </a:prstGeom>
        </p:spPr>
        <p:txBody>
          <a:bodyPr vert="horz"/>
          <a:lstStyle>
            <a:defPPr>
              <a:defRPr lang="en-US"/>
            </a:defPPr>
            <a:lvl1pPr algn="l" rtl="0" eaLnBrk="1" fontAlgn="auto" latinLnBrk="0" hangingPunct="1">
              <a:spcBef>
                <a:spcPts val="0"/>
              </a:spcBef>
              <a:spcAft>
                <a:spcPts val="0"/>
              </a:spcAft>
              <a:defRPr kumimoji="0" sz="1200" b="1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defRPr/>
            </a:pPr>
            <a:endParaRPr lang="en-US" b="0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17055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5057" r:id="rId1"/>
    <p:sldLayoutId id="2147485058" r:id="rId2"/>
    <p:sldLayoutId id="2147485059" r:id="rId3"/>
    <p:sldLayoutId id="2147485060" r:id="rId4"/>
    <p:sldLayoutId id="2147485061" r:id="rId5"/>
    <p:sldLayoutId id="2147485062" r:id="rId6"/>
    <p:sldLayoutId id="2147485063" r:id="rId7"/>
    <p:sldLayoutId id="2147485064" r:id="rId8"/>
    <p:sldLayoutId id="2147485065" r:id="rId9"/>
    <p:sldLayoutId id="2147485066" r:id="rId10"/>
    <p:sldLayoutId id="2147485067" r:id="rId11"/>
    <p:sldLayoutId id="2147485068" r:id="rId12"/>
    <p:sldLayoutId id="2147485069" r:id="rId13"/>
  </p:sldLayoutIdLst>
  <p:transition>
    <p:dissolv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000" b="1" kern="1200" cap="none" spc="0" baseline="0" dirty="0">
          <a:solidFill>
            <a:schemeClr val="tx1"/>
          </a:solidFill>
          <a:effectLst>
            <a:outerShdw blurRad="50800" dist="25400" dir="5400000" algn="tl">
              <a:schemeClr val="accent4">
                <a:lumMod val="50000"/>
                <a:alpha val="42000"/>
              </a:schemeClr>
            </a:outerShdw>
          </a:effectLst>
          <a:latin typeface="Calibri" panose="020F0502020204030204" pitchFamily="34" charset="0"/>
          <a:ea typeface="+mn-ea"/>
          <a:cs typeface="+mn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900"/>
        </a:spcBef>
        <a:spcAft>
          <a:spcPts val="0"/>
        </a:spcAft>
        <a:buClr>
          <a:srgbClr val="FFFF66"/>
        </a:buClr>
        <a:buFont typeface="Arial" panose="020B0604020202020204" pitchFamily="34" charset="0"/>
        <a:buChar char="•"/>
        <a:defRPr sz="2800" b="1" kern="1200">
          <a:solidFill>
            <a:srgbClr val="2C7D88"/>
          </a:solidFill>
          <a:latin typeface="Calibri" panose="020F0502020204030204" pitchFamily="34" charset="0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100000"/>
        </a:lnSpc>
        <a:spcBef>
          <a:spcPts val="500"/>
        </a:spcBef>
        <a:buClr>
          <a:srgbClr val="FFFF00"/>
        </a:buClr>
        <a:buFont typeface="Wingdings" panose="05000000000000000000" pitchFamily="2" charset="2"/>
        <a:buChar char="ü"/>
        <a:defRPr sz="2400" b="1" kern="1200">
          <a:solidFill>
            <a:srgbClr val="399C08"/>
          </a:solidFill>
          <a:latin typeface="Calibri" panose="020F0502020204030204" pitchFamily="34" charset="0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tx2">
            <a:lumMod val="60000"/>
            <a:lumOff val="40000"/>
          </a:schemeClr>
        </a:buClr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2" name="Shape 602"/>
          <p:cNvSpPr txBox="1">
            <a:spLocks noGrp="1"/>
          </p:cNvSpPr>
          <p:nvPr>
            <p:ph type="title"/>
          </p:nvPr>
        </p:nvSpPr>
        <p:spPr>
          <a:xfrm>
            <a:off x="628650" y="365126"/>
            <a:ext cx="7886700" cy="132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Arial"/>
              <a:buNone/>
              <a:defRPr sz="4400" b="1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603" name="Shape 603"/>
          <p:cNvSpPr txBox="1">
            <a:spLocks noGrp="1"/>
          </p:cNvSpPr>
          <p:nvPr>
            <p:ph type="body" idx="1"/>
          </p:nvPr>
        </p:nvSpPr>
        <p:spPr>
          <a:xfrm>
            <a:off x="628650" y="1825626"/>
            <a:ext cx="78867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0A2B6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529605390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123" r:id="rId1"/>
    <p:sldLayoutId id="2147485124" r:id="rId2"/>
    <p:sldLayoutId id="2147485125" r:id="rId3"/>
    <p:sldLayoutId id="2147485126" r:id="rId4"/>
    <p:sldLayoutId id="2147485127" r:id="rId5"/>
    <p:sldLayoutId id="2147485128" r:id="rId6"/>
    <p:sldLayoutId id="2147485129" r:id="rId7"/>
    <p:sldLayoutId id="2147485130" r:id="rId8"/>
    <p:sldLayoutId id="2147485131" r:id="rId9"/>
    <p:sldLayoutId id="2147485132" r:id="rId10"/>
    <p:sldLayoutId id="2147485133" r:id="rId11"/>
    <p:sldLayoutId id="2147485134" r:id="rId12"/>
    <p:sldLayoutId id="2147485135" r:id="rId13"/>
    <p:sldLayoutId id="2147485136" r:id="rId14"/>
    <p:sldLayoutId id="2147485137" r:id="rId15"/>
    <p:sldLayoutId id="2147485138" r:id="rId1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j-lt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+mn-lt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ncii-improve.com/" TargetMode="External"/><Relationship Id="rId1" Type="http://schemas.openxmlformats.org/officeDocument/2006/relationships/slideLayout" Target="../slideLayouts/slideLayout7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55171" y="479323"/>
            <a:ext cx="7982901" cy="4793717"/>
          </a:xfrm>
        </p:spPr>
        <p:txBody>
          <a:bodyPr anchor="ctr">
            <a:normAutofit fontScale="90000"/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sz="4400" b="1" dirty="0"/>
              <a:t>Reducing Student Equity Gaps in Transfer-Level Math &amp; English Attainment</a:t>
            </a:r>
            <a:br>
              <a:rPr lang="en-US" sz="4900" b="1" dirty="0"/>
            </a:br>
            <a:r>
              <a:rPr lang="en-US" sz="4900" b="1" dirty="0"/>
              <a:t>  </a:t>
            </a: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Advancing Equity through Guided Pathways Series</a:t>
            </a: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Discussion Guide </a:t>
            </a:r>
            <a:r>
              <a:rPr lang="en-US" sz="2800" b="1" i="1">
                <a:solidFill>
                  <a:srgbClr val="549E39">
                    <a:lumMod val="50000"/>
                  </a:srgbClr>
                </a:solidFill>
              </a:rPr>
              <a:t>#8 </a:t>
            </a: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Robert Vela, San Antonio College</a:t>
            </a:r>
            <a:b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</a:br>
            <a:r>
              <a:rPr lang="en-US" sz="2800" b="1" i="1" dirty="0">
                <a:solidFill>
                  <a:srgbClr val="549E39">
                    <a:lumMod val="50000"/>
                  </a:srgbClr>
                </a:solidFill>
              </a:rPr>
              <a:t>Kathy Booth, WestEd</a:t>
            </a:r>
            <a:br>
              <a:rPr lang="en-US" sz="4000" dirty="0"/>
            </a:b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A8C28C9-49BD-154E-81F1-36BC551BC087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856D193D-D26F-4F51-830D-A7B427DCB2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6101" y="5425510"/>
            <a:ext cx="3286125" cy="1097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9340765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2896D-3920-EA43-A026-51741A7F2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Discussion Questions (2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DEF541-B067-E349-824C-CA14982555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6560" y="1260938"/>
            <a:ext cx="8249920" cy="5078627"/>
          </a:xfrm>
        </p:spPr>
        <p:txBody>
          <a:bodyPr>
            <a:normAutofit fontScale="92500" lnSpcReduction="10000"/>
          </a:bodyPr>
          <a:lstStyle/>
          <a:p>
            <a:pPr marL="0" lvl="0" indent="0">
              <a:spcBef>
                <a:spcPts val="1500"/>
              </a:spcBef>
              <a:buNone/>
            </a:pPr>
            <a:r>
              <a:rPr lang="en-US" sz="3000" i="1" dirty="0"/>
              <a:t>Consider…</a:t>
            </a:r>
          </a:p>
          <a:p>
            <a:pPr lvl="0"/>
            <a:r>
              <a:rPr lang="en-US" sz="3000" dirty="0"/>
              <a:t>How well the types of math &amp; English courses students of color typically take in their first year at your college align with their educational &amp; career goals</a:t>
            </a:r>
          </a:p>
          <a:p>
            <a:pPr lvl="1"/>
            <a:r>
              <a:rPr lang="en-US" sz="2600" dirty="0"/>
              <a:t>Where there are opportunities for better alignment</a:t>
            </a:r>
          </a:p>
          <a:p>
            <a:pPr lvl="1"/>
            <a:r>
              <a:rPr lang="en-US" sz="2600" dirty="0"/>
              <a:t>How to improve communication about courses that best suit students’ educational path</a:t>
            </a:r>
          </a:p>
          <a:p>
            <a:pPr lvl="0"/>
            <a:r>
              <a:rPr lang="en-US" sz="3000" dirty="0"/>
              <a:t>If all populations benefit equally from development education innovations your college has implemented &amp; where you have narrowed equity gaps in completion of college-level math &amp; English cours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78975-91E7-1B4E-8D32-18C67AC4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0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6703964"/>
      </p:ext>
    </p:extLst>
  </p:cSld>
  <p:clrMapOvr>
    <a:masterClrMapping/>
  </p:clrMapOvr>
  <p:transition>
    <p:dissolv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2896D-3920-EA43-A026-51741A7F2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Discussion Questions (3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DEF541-B067-E349-824C-CA14982555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90320"/>
            <a:ext cx="8209280" cy="4003039"/>
          </a:xfrm>
        </p:spPr>
        <p:txBody>
          <a:bodyPr>
            <a:noAutofit/>
          </a:bodyPr>
          <a:lstStyle/>
          <a:p>
            <a:pPr marL="0" lvl="0" indent="0">
              <a:spcBef>
                <a:spcPts val="1500"/>
              </a:spcBef>
              <a:buNone/>
            </a:pPr>
            <a:r>
              <a:rPr lang="en-US" i="1" dirty="0"/>
              <a:t>Consider…</a:t>
            </a:r>
          </a:p>
          <a:p>
            <a:pPr lvl="0"/>
            <a:r>
              <a:rPr lang="en-US" dirty="0"/>
              <a:t>How you have integrated your dev ed redesign work with your Guided Pathways program mapping &amp;/or your first semester metamajor experience </a:t>
            </a:r>
          </a:p>
          <a:p>
            <a:pPr lvl="0"/>
            <a:r>
              <a:rPr lang="en-US" dirty="0"/>
              <a:t>How you can ensure that students equitably enroll in alternate math pathways that match their programs of stud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78975-91E7-1B4E-8D32-18C67AC4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1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092739"/>
      </p:ext>
    </p:extLst>
  </p:cSld>
  <p:clrMapOvr>
    <a:masterClrMapping/>
  </p:clrMapOvr>
  <p:transition>
    <p:dissolv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9FC065-4E0A-CC4D-B2A3-53DA6780C9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Research Tasks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2A78684-835C-5C44-946B-7F76B373D4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260389"/>
            <a:ext cx="7680960" cy="4616843"/>
          </a:xfrm>
        </p:spPr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i="1" dirty="0"/>
              <a:t>Determine how your college will…</a:t>
            </a:r>
          </a:p>
          <a:p>
            <a:pPr lvl="0"/>
            <a:r>
              <a:rPr lang="en-US" dirty="0"/>
              <a:t>Identify how many of your students are assigned to developmental education*</a:t>
            </a:r>
          </a:p>
          <a:p>
            <a:pPr lvl="0"/>
            <a:r>
              <a:rPr lang="en-US" dirty="0"/>
              <a:t>Identify how many students complete a college-level math &amp;/or English course in their first year*</a:t>
            </a:r>
          </a:p>
          <a:p>
            <a:pPr marL="0" lvl="0" indent="0">
              <a:buNone/>
            </a:pPr>
            <a:r>
              <a:rPr lang="en-US" sz="1800" i="1" dirty="0"/>
              <a:t>*Disaggregate &amp; compare students of color to white students </a:t>
            </a:r>
            <a:endParaRPr lang="en-US" dirty="0"/>
          </a:p>
          <a:p>
            <a:pPr marL="0" lvl="0" indent="0">
              <a:spcBef>
                <a:spcPts val="1500"/>
              </a:spcBef>
              <a:buNone/>
            </a:pPr>
            <a:endParaRPr lang="en-US" sz="1700" i="1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480BA71-DD0E-5147-9B04-48E296CBCF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2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1632219"/>
      </p:ext>
    </p:extLst>
  </p:cSld>
  <p:clrMapOvr>
    <a:masterClrMapping/>
  </p:clrMapOvr>
  <p:transition>
    <p:dissolv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4D14F9-5D02-2B49-AD78-450DC35307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For More Information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752E70-FE32-5843-BE9F-04EE06E3574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ts val="0"/>
              </a:spcBef>
              <a:spcAft>
                <a:spcPts val="1500"/>
              </a:spcAft>
              <a:buNone/>
            </a:pPr>
            <a:r>
              <a:rPr lang="en-US" dirty="0"/>
              <a:t>For all guides &amp; additional information on the series, visit </a:t>
            </a:r>
            <a:r>
              <a:rPr lang="en-US" u="sng" dirty="0">
                <a:hlinkClick r:id="rId2"/>
              </a:rPr>
              <a:t>www.ncii-improve.com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07F085-538B-D845-84CB-86A5D39047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3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936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C12C38-C457-1E44-9CA5-2735539598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Referen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1AE453-256B-4B47-A39E-74CB42CF3FC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baseline="30000" dirty="0"/>
              <a:t>1</a:t>
            </a:r>
            <a:r>
              <a:rPr lang="en-US" sz="2000" dirty="0"/>
              <a:t>Xu, D., &amp; </a:t>
            </a:r>
            <a:r>
              <a:rPr lang="en-US" sz="2000" dirty="0" err="1"/>
              <a:t>Dadgar</a:t>
            </a:r>
            <a:r>
              <a:rPr lang="en-US" sz="2000" dirty="0"/>
              <a:t>, M. (2017). How effective are community college remedial math courses for students with the lowest math skills? </a:t>
            </a:r>
            <a:r>
              <a:rPr lang="en-US" sz="2000" i="1" dirty="0"/>
              <a:t>Community College Review. 46</a:t>
            </a:r>
            <a:r>
              <a:rPr lang="en-US" sz="2000" dirty="0"/>
              <a:t>(1), 62–81.</a:t>
            </a:r>
          </a:p>
          <a:p>
            <a:pPr marL="0" indent="0">
              <a:buNone/>
            </a:pPr>
            <a:r>
              <a:rPr lang="en-US" sz="2000" baseline="30000" dirty="0"/>
              <a:t>2</a:t>
            </a:r>
            <a:r>
              <a:rPr lang="en-US" sz="2000" dirty="0"/>
              <a:t>Burdman, P., Booth, K., Thorn, C., Bahr, P., </a:t>
            </a:r>
            <a:r>
              <a:rPr lang="en-US" sz="2000" dirty="0" err="1"/>
              <a:t>McNaughtan</a:t>
            </a:r>
            <a:r>
              <a:rPr lang="en-US" sz="2000" dirty="0"/>
              <a:t>, J., &amp; Jackson, G. (2018). </a:t>
            </a:r>
            <a:r>
              <a:rPr lang="en-US" sz="2000" i="1" dirty="0"/>
              <a:t>Multiple paths forward: Diversifying mathematics as a strategy for college success.</a:t>
            </a:r>
            <a:r>
              <a:rPr lang="en-US" sz="2000" dirty="0"/>
              <a:t> San Francisco, CA: WestEd and Just Equations.</a:t>
            </a:r>
          </a:p>
          <a:p>
            <a:pPr marL="0" indent="0">
              <a:buNone/>
            </a:pPr>
            <a:r>
              <a:rPr lang="en-US" sz="2000" baseline="30000" dirty="0"/>
              <a:t>3</a:t>
            </a:r>
            <a:r>
              <a:rPr lang="en-US" sz="2000" dirty="0"/>
              <a:t>Scott-Clayton, J., </a:t>
            </a:r>
            <a:r>
              <a:rPr lang="en-US" sz="2000" dirty="0" err="1"/>
              <a:t>Crosta</a:t>
            </a:r>
            <a:r>
              <a:rPr lang="en-US" sz="2000" dirty="0"/>
              <a:t>, P. M., &amp; Belfield, C. R. (2012). </a:t>
            </a:r>
            <a:r>
              <a:rPr lang="en-US" sz="2000" i="1" dirty="0"/>
              <a:t>Improving the targeting of treatment: Evidence from college remediation </a:t>
            </a:r>
            <a:r>
              <a:rPr lang="en-US" sz="2000" dirty="0"/>
              <a:t>(NBER Working Paper No. 18457). Cambridge, MA: National Bureau of Economic Research.</a:t>
            </a:r>
          </a:p>
          <a:p>
            <a:pPr marL="0" indent="0">
              <a:buNone/>
            </a:pPr>
            <a:endParaRPr lang="en-US" sz="4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996128-7D51-544B-8B4F-F4B476578F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14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8765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FA827F-0835-F743-91A9-F367EFCE3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How to Use This Present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70F228-B789-B249-BADA-2E1CF879D6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689463"/>
            <a:ext cx="7680960" cy="4187769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dirty="0"/>
              <a:t>As an institutional redesign team…</a:t>
            </a:r>
          </a:p>
          <a:p>
            <a:pPr>
              <a:spcBef>
                <a:spcPts val="1500"/>
              </a:spcBef>
            </a:pPr>
            <a:r>
              <a:rPr lang="en-US" dirty="0"/>
              <a:t>Independently read </a:t>
            </a:r>
            <a:r>
              <a:rPr lang="en-US" i="1" dirty="0"/>
              <a:t>Advancing Equity through Guided Pathways Discussion Guide 8</a:t>
            </a:r>
          </a:p>
          <a:p>
            <a:pPr>
              <a:spcBef>
                <a:spcPts val="1500"/>
              </a:spcBef>
            </a:pPr>
            <a:r>
              <a:rPr lang="en-US" dirty="0"/>
              <a:t>Review the highlights (below) on </a:t>
            </a:r>
            <a:r>
              <a:rPr lang="en-US" u="sng" dirty="0"/>
              <a:t>opportunities for reducing equity gaps in developmental education</a:t>
            </a:r>
            <a:r>
              <a:rPr lang="en-US" dirty="0"/>
              <a:t> </a:t>
            </a:r>
            <a:endParaRPr lang="en-US" u="sng" dirty="0"/>
          </a:p>
          <a:p>
            <a:pPr>
              <a:spcBef>
                <a:spcPts val="1500"/>
              </a:spcBef>
            </a:pPr>
            <a:r>
              <a:rPr lang="en-US" dirty="0"/>
              <a:t>Consider the discussion questions</a:t>
            </a:r>
          </a:p>
          <a:p>
            <a:pPr>
              <a:spcBef>
                <a:spcPts val="1500"/>
              </a:spcBef>
            </a:pPr>
            <a:r>
              <a:rPr lang="en-US" dirty="0"/>
              <a:t>Determine how to conduct the research task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6D801F-C619-A947-9BD7-38FA50CE0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2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9151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0" y="94343"/>
            <a:ext cx="7680960" cy="901337"/>
          </a:xfrm>
        </p:spPr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Backgroun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8320" y="1219200"/>
            <a:ext cx="8219440" cy="4998719"/>
          </a:xfrm>
        </p:spPr>
        <p:txBody>
          <a:bodyPr>
            <a:normAutofit/>
          </a:bodyPr>
          <a:lstStyle/>
          <a:p>
            <a:pPr>
              <a:spcBef>
                <a:spcPts val="1500"/>
              </a:spcBef>
            </a:pPr>
            <a:r>
              <a:rPr lang="en-US" dirty="0"/>
              <a:t>Prepared as companion to the </a:t>
            </a:r>
            <a:r>
              <a:rPr lang="en-US" i="1" dirty="0"/>
              <a:t>Advancing Equity in Guided Pathways Discussion Guide 8,</a:t>
            </a:r>
            <a:r>
              <a:rPr lang="en-US" dirty="0"/>
              <a:t> authored by Robert Vela, San Antonio College &amp; Kathy Booth, WestEd</a:t>
            </a:r>
          </a:p>
          <a:p>
            <a:pPr>
              <a:spcBef>
                <a:spcPts val="1500"/>
              </a:spcBef>
            </a:pPr>
            <a:r>
              <a:rPr lang="en-US" dirty="0"/>
              <a:t>Intended to foster critical campus conversations about increasing student equity under a Guided Pathways umbrella </a:t>
            </a:r>
          </a:p>
          <a:p>
            <a:pPr lvl="1">
              <a:spcBef>
                <a:spcPts val="700"/>
              </a:spcBef>
            </a:pPr>
            <a:r>
              <a:rPr lang="en-US" dirty="0"/>
              <a:t>Across the series, authors bring their own unique perspectives on &amp; approach to the issue; no guide is intended as the definitive word on its topic</a:t>
            </a:r>
          </a:p>
          <a:p>
            <a:pPr marL="457200" indent="-457200">
              <a:buFont typeface="Arial" pitchFamily="34" charset="0"/>
              <a:buChar char="•"/>
            </a:pPr>
            <a:endParaRPr lang="en-US" sz="3200" dirty="0"/>
          </a:p>
          <a:p>
            <a:pPr marL="457200" indent="-457200">
              <a:buFont typeface="Arial" pitchFamily="34" charset="0"/>
              <a:buChar char="•"/>
            </a:pP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682321964"/>
      </p:ext>
    </p:extLst>
  </p:cSld>
  <p:clrMapOvr>
    <a:masterClrMapping/>
  </p:clrMapOvr>
  <p:transition>
    <p:dissolv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15223-983C-4E48-898F-55C67D4F7C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Why Is Developmental Education Reform Needed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C4DC10-D92C-BD4B-BFC3-40BCD56229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739360"/>
          </a:xfrm>
        </p:spPr>
        <p:txBody>
          <a:bodyPr>
            <a:normAutofit/>
          </a:bodyPr>
          <a:lstStyle/>
          <a:p>
            <a:pPr>
              <a:spcBef>
                <a:spcPts val="1500"/>
              </a:spcBef>
            </a:pPr>
            <a:r>
              <a:rPr lang="en-US" dirty="0"/>
              <a:t>Students assigned to pre-collegiate math or English are less likely to…</a:t>
            </a:r>
          </a:p>
          <a:p>
            <a:pPr lvl="1">
              <a:spcBef>
                <a:spcPts val="1500"/>
              </a:spcBef>
            </a:pPr>
            <a:r>
              <a:rPr lang="en-US" dirty="0"/>
              <a:t>Complete, especially when placed into long course sequences</a:t>
            </a:r>
            <a:r>
              <a:rPr lang="en-US" baseline="30000" dirty="0"/>
              <a:t>1</a:t>
            </a:r>
          </a:p>
          <a:p>
            <a:pPr lvl="1">
              <a:spcBef>
                <a:spcPts val="1500"/>
              </a:spcBef>
            </a:pPr>
            <a:r>
              <a:rPr lang="en-US" dirty="0"/>
              <a:t>Take courses that clearly align with education &amp; career goals to solidify choice of major</a:t>
            </a:r>
            <a:r>
              <a:rPr lang="en-US" baseline="30000" dirty="0"/>
              <a:t>2</a:t>
            </a:r>
            <a:r>
              <a:rPr lang="en-US" dirty="0"/>
              <a:t> </a:t>
            </a:r>
          </a:p>
          <a:p>
            <a:r>
              <a:rPr lang="en-US" dirty="0"/>
              <a:t>Standardized tests often used to place students do not reliably predict success in college-level courses</a:t>
            </a:r>
            <a:r>
              <a:rPr lang="en-US" baseline="30000" dirty="0"/>
              <a:t>3</a:t>
            </a:r>
            <a:endParaRPr lang="en-US" sz="1800" baseline="30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C19561-58DA-DB49-9B81-77E354870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4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55084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446B13-2E95-464E-BF8F-7A7ACDF2D2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1520" y="185783"/>
            <a:ext cx="7680960" cy="1371600"/>
          </a:xfrm>
        </p:spPr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Why Is Developmental Education Reform Important to Equity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7D5D02-5875-B44C-9B4C-348BDA45A9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8000" y="1729657"/>
            <a:ext cx="8219440" cy="4583029"/>
          </a:xfrm>
        </p:spPr>
        <p:txBody>
          <a:bodyPr>
            <a:normAutofit fontScale="92500" lnSpcReduction="10000"/>
          </a:bodyPr>
          <a:lstStyle/>
          <a:p>
            <a:pPr>
              <a:spcBef>
                <a:spcPts val="1500"/>
              </a:spcBef>
            </a:pPr>
            <a:r>
              <a:rPr lang="en-US" sz="3000" dirty="0"/>
              <a:t>Students of color—especially African Americans &amp; Hispanics—are more likely to…</a:t>
            </a:r>
          </a:p>
          <a:p>
            <a:pPr lvl="1">
              <a:spcBef>
                <a:spcPts val="1500"/>
              </a:spcBef>
            </a:pPr>
            <a:r>
              <a:rPr lang="en-US" sz="2600" dirty="0"/>
              <a:t>Be placed in remedial coursework</a:t>
            </a:r>
          </a:p>
          <a:p>
            <a:pPr lvl="1">
              <a:spcBef>
                <a:spcPts val="1500"/>
              </a:spcBef>
            </a:pPr>
            <a:r>
              <a:rPr lang="en-US" sz="2600" dirty="0"/>
              <a:t>Be put into longer sequences </a:t>
            </a:r>
          </a:p>
          <a:p>
            <a:pPr lvl="1">
              <a:spcBef>
                <a:spcPts val="1500"/>
              </a:spcBef>
            </a:pPr>
            <a:r>
              <a:rPr lang="en-US" sz="2600" dirty="0"/>
              <a:t>Experience bias in standardized tests used for assessment</a:t>
            </a:r>
          </a:p>
          <a:p>
            <a:pPr>
              <a:spcBef>
                <a:spcPts val="1500"/>
              </a:spcBef>
            </a:pPr>
            <a:r>
              <a:rPr lang="en-US" sz="3000" dirty="0"/>
              <a:t>Placement of historically marginalized students into developmental coursework reinforces negative messages about their preparation &amp; capacity to succeed in college—further undermining &amp; alienating these populations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3CDFBB-DE10-E547-8C00-005E48DB30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7004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Emerging Approaches for Reducing Equity Gaps in Dev Ed (1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Assessing College Readiness </a:t>
            </a:r>
          </a:p>
          <a:p>
            <a:pPr>
              <a:spcBef>
                <a:spcPts val="1500"/>
              </a:spcBef>
            </a:pPr>
            <a:r>
              <a:rPr lang="en-US" dirty="0"/>
              <a:t>Using other factors to assess student readiness for college-level coursework (rather than high-stakes testing) </a:t>
            </a:r>
          </a:p>
          <a:p>
            <a:pPr lvl="1">
              <a:spcBef>
                <a:spcPts val="1500"/>
              </a:spcBef>
            </a:pPr>
            <a:r>
              <a:rPr lang="en-US" dirty="0"/>
              <a:t>High school course-taking </a:t>
            </a:r>
          </a:p>
          <a:p>
            <a:pPr lvl="1">
              <a:spcBef>
                <a:spcPts val="1500"/>
              </a:spcBef>
            </a:pPr>
            <a:r>
              <a:rPr lang="en-US" dirty="0"/>
              <a:t>High school GPA </a:t>
            </a:r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6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02680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Emerging Approaches for Reducing Equity Gaps in Dev Ed (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1520" y="1800777"/>
            <a:ext cx="7680960" cy="4457783"/>
          </a:xfrm>
        </p:spPr>
        <p:txBody>
          <a:bodyPr>
            <a:normAutofit lnSpcReduction="10000"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Curricular Innovations</a:t>
            </a:r>
          </a:p>
          <a:p>
            <a:pPr>
              <a:spcBef>
                <a:spcPts val="1500"/>
              </a:spcBef>
            </a:pPr>
            <a:r>
              <a:rPr lang="en-US" dirty="0"/>
              <a:t>Helping students acquire skills needed for success in credit-bearing coursework </a:t>
            </a:r>
          </a:p>
          <a:p>
            <a:pPr lvl="1">
              <a:spcBef>
                <a:spcPts val="1500"/>
              </a:spcBef>
            </a:pPr>
            <a:r>
              <a:rPr lang="en-US" dirty="0"/>
              <a:t>Free courses to master or “refresh” specific skills</a:t>
            </a:r>
          </a:p>
          <a:p>
            <a:pPr lvl="1">
              <a:spcBef>
                <a:spcPts val="1500"/>
              </a:spcBef>
            </a:pPr>
            <a:r>
              <a:rPr lang="en-US" dirty="0"/>
              <a:t>Flexible start / end dates to fit into students’ schedules </a:t>
            </a:r>
          </a:p>
          <a:p>
            <a:pPr lvl="1">
              <a:spcBef>
                <a:spcPts val="1500"/>
              </a:spcBef>
            </a:pPr>
            <a:r>
              <a:rPr lang="en-US" dirty="0"/>
              <a:t>Corequisite courses that pair entry-level courses with a developmental course</a:t>
            </a:r>
          </a:p>
          <a:p>
            <a:pPr lvl="1">
              <a:spcBef>
                <a:spcPts val="1500"/>
              </a:spcBef>
            </a:pPr>
            <a:r>
              <a:rPr lang="en-US" dirty="0"/>
              <a:t>Accelerated course sequences that shorten the time to complete developmental coursework</a:t>
            </a:r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7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8151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47C920-260A-064B-B9CA-04A1A3A9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Emerging Approaches for Reducing Equity Gaps in Dev Ed (3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B0A658-148F-1A40-9016-484DCCC34C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ts val="1500"/>
              </a:spcBef>
              <a:buNone/>
            </a:pPr>
            <a:r>
              <a:rPr lang="en-US" u="sng" dirty="0"/>
              <a:t>Contextualizing Coursework </a:t>
            </a:r>
          </a:p>
          <a:p>
            <a:pPr>
              <a:spcBef>
                <a:spcPts val="1500"/>
              </a:spcBef>
            </a:pPr>
            <a:r>
              <a:rPr lang="en-US" dirty="0"/>
              <a:t>Aligning math &amp; English requirements to pathway / program of study </a:t>
            </a:r>
          </a:p>
          <a:p>
            <a:pPr>
              <a:spcBef>
                <a:spcPts val="1500"/>
              </a:spcBef>
            </a:pPr>
            <a:r>
              <a:rPr lang="en-US" dirty="0"/>
              <a:t>Removing course hurdles that might unnecessarily  derail / delay student progress </a:t>
            </a:r>
          </a:p>
          <a:p>
            <a:pPr marL="0" indent="0">
              <a:spcBef>
                <a:spcPts val="1500"/>
              </a:spcBef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774FF81-3B70-5E46-8E15-F3EAB26D3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8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17881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2896D-3920-EA43-A026-51741A7F22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rgbClr val="2C7D88"/>
                </a:solidFill>
              </a:rPr>
              <a:t>Discussion Questions (1)</a:t>
            </a:r>
            <a:br>
              <a:rPr lang="en-US" dirty="0">
                <a:solidFill>
                  <a:srgbClr val="2C7D88"/>
                </a:solidFill>
              </a:rPr>
            </a:br>
            <a:endParaRPr lang="en-US" dirty="0">
              <a:solidFill>
                <a:srgbClr val="2C7D88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CDEF541-B067-E349-824C-CA14982555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59" y="1432560"/>
            <a:ext cx="8467701" cy="4795245"/>
          </a:xfrm>
        </p:spPr>
        <p:txBody>
          <a:bodyPr>
            <a:noAutofit/>
          </a:bodyPr>
          <a:lstStyle/>
          <a:p>
            <a:pPr marL="0" lvl="0" indent="0">
              <a:spcBef>
                <a:spcPts val="1500"/>
              </a:spcBef>
              <a:buNone/>
            </a:pPr>
            <a:r>
              <a:rPr lang="en-US" i="1" dirty="0"/>
              <a:t>Consider…</a:t>
            </a:r>
          </a:p>
          <a:p>
            <a:pPr lvl="0"/>
            <a:r>
              <a:rPr lang="en-US" dirty="0"/>
              <a:t>How easy it is for students to refresh their skills in math &amp; English at your college (examining factors such as cost, requirements, timing, format) &amp; if some populations have greater access to these resources</a:t>
            </a:r>
          </a:p>
          <a:p>
            <a:pPr lvl="0"/>
            <a:r>
              <a:rPr lang="en-US" dirty="0"/>
              <a:t>How equity gaps could get reinforced by high-stakes testing without an easy opportunity to refresh skill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478975-91E7-1B4E-8D32-18C67AC4C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8C28C9-49BD-154E-81F1-36BC551BC087}" type="slidenum">
              <a:rPr lang="en-US" smtClean="0">
                <a:solidFill>
                  <a:srgbClr val="E3DED1">
                    <a:lumMod val="25000"/>
                  </a:srgbClr>
                </a:solidFill>
              </a:rPr>
              <a:pPr/>
              <a:t>9</a:t>
            </a:fld>
            <a:endParaRPr lang="en-US" dirty="0">
              <a:solidFill>
                <a:srgbClr val="E3DED1">
                  <a:lumMod val="2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238593"/>
      </p:ext>
    </p:extLst>
  </p:cSld>
  <p:clrMapOvr>
    <a:masterClrMapping/>
  </p:clrMapOvr>
  <p:transition>
    <p:dissolv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avon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77B129"/>
      </a:hlink>
      <a:folHlink>
        <a:srgbClr val="B26B02"/>
      </a:folHlink>
    </a:clrScheme>
    <a:fontScheme name="Savon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b_template01.potx" id="{E19EA466-CBF7-4861-A800-89F3022E63F3}" vid="{EE3D6314-B0EE-4E4C-B841-635E280CFCCE}"/>
    </a:ext>
  </a:extLst>
</a:theme>
</file>

<file path=ppt/theme/theme2.xml><?xml version="1.0" encoding="utf-8"?>
<a:theme xmlns:a="http://schemas.openxmlformats.org/drawingml/2006/main" name="Family Feud Master">
  <a:themeElements>
    <a:clrScheme name="Family Feud Bible Edition v1.5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Family Feud Bible Edition v1.5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ahoma" pitchFamily="34" charset="0"/>
          </a:defRPr>
        </a:defPPr>
      </a:lstStyle>
    </a:lnDef>
  </a:objectDefaults>
  <a:extraClrSchemeLst>
    <a:extraClrScheme>
      <a:clrScheme name="Family Feud Bible Edition v1.5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amily Feud Bible Edition v1.5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Family Feud Bible Edition v1.5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1_AmericasCharities_PPT_TEMPLATE_160511">
  <a:themeElements>
    <a:clrScheme name="Custom 17">
      <a:dk1>
        <a:srgbClr val="000000"/>
      </a:dk1>
      <a:lt1>
        <a:srgbClr val="FFFFFF"/>
      </a:lt1>
      <a:dk2>
        <a:srgbClr val="0065A4"/>
      </a:dk2>
      <a:lt2>
        <a:srgbClr val="0065A4"/>
      </a:lt2>
      <a:accent1>
        <a:srgbClr val="42BECA"/>
      </a:accent1>
      <a:accent2>
        <a:srgbClr val="42BECA"/>
      </a:accent2>
      <a:accent3>
        <a:srgbClr val="ADAFB2"/>
      </a:accent3>
      <a:accent4>
        <a:srgbClr val="ADAFB2"/>
      </a:accent4>
      <a:accent5>
        <a:srgbClr val="646464"/>
      </a:accent5>
      <a:accent6>
        <a:srgbClr val="646464"/>
      </a:accent6>
      <a:hlink>
        <a:srgbClr val="3C3C3C"/>
      </a:hlink>
      <a:folHlink>
        <a:srgbClr val="3C3C3C"/>
      </a:folHlink>
    </a:clrScheme>
    <a:fontScheme name="Blank Presentation">
      <a:majorFont>
        <a:latin typeface="Arial"/>
        <a:ea typeface="ヒラギノ角ゴ Pro W3"/>
        <a:cs typeface="ヒラギノ角ゴ Pro W3"/>
      </a:majorFont>
      <a:minorFont>
        <a:latin typeface="Arial"/>
        <a:ea typeface="ヒラギノ角ゴ Pro W3"/>
        <a:cs typeface="ヒラギノ角ゴ Pro W3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93D0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charset="-128"/>
            <a:cs typeface="ヒラギノ角ゴ Pro W3" charset="-128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CCRC2017">
  <a:themeElements>
    <a:clrScheme name="CCRC 2017">
      <a:dk1>
        <a:srgbClr val="000000"/>
      </a:dk1>
      <a:lt1>
        <a:srgbClr val="FFFFFF"/>
      </a:lt1>
      <a:dk2>
        <a:srgbClr val="0065A3"/>
      </a:dk2>
      <a:lt2>
        <a:srgbClr val="30A2B6"/>
      </a:lt2>
      <a:accent1>
        <a:srgbClr val="0065A3"/>
      </a:accent1>
      <a:accent2>
        <a:srgbClr val="30A2B6"/>
      </a:accent2>
      <a:accent3>
        <a:srgbClr val="CB3A2E"/>
      </a:accent3>
      <a:accent4>
        <a:srgbClr val="D96B28"/>
      </a:accent4>
      <a:accent5>
        <a:srgbClr val="864F83"/>
      </a:accent5>
      <a:accent6>
        <a:srgbClr val="5CA060"/>
      </a:accent6>
      <a:hlink>
        <a:srgbClr val="0065A3"/>
      </a:hlink>
      <a:folHlink>
        <a:srgbClr val="30A2B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CCRC2017">
  <a:themeElements>
    <a:clrScheme name="CCRC 2017">
      <a:dk1>
        <a:srgbClr val="000000"/>
      </a:dk1>
      <a:lt1>
        <a:srgbClr val="FFFFFF"/>
      </a:lt1>
      <a:dk2>
        <a:srgbClr val="0065A3"/>
      </a:dk2>
      <a:lt2>
        <a:srgbClr val="30A2B6"/>
      </a:lt2>
      <a:accent1>
        <a:srgbClr val="0065A3"/>
      </a:accent1>
      <a:accent2>
        <a:srgbClr val="30A2B6"/>
      </a:accent2>
      <a:accent3>
        <a:srgbClr val="CB3A2E"/>
      </a:accent3>
      <a:accent4>
        <a:srgbClr val="D96B28"/>
      </a:accent4>
      <a:accent5>
        <a:srgbClr val="864F83"/>
      </a:accent5>
      <a:accent6>
        <a:srgbClr val="5CA060"/>
      </a:accent6>
      <a:hlink>
        <a:srgbClr val="0065A3"/>
      </a:hlink>
      <a:folHlink>
        <a:srgbClr val="30A2B6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CCRC 2018 Theme">
  <a:themeElements>
    <a:clrScheme name="CCRC Colors">
      <a:dk1>
        <a:srgbClr val="000000"/>
      </a:dk1>
      <a:lt1>
        <a:srgbClr val="FFFFFF"/>
      </a:lt1>
      <a:dk2>
        <a:srgbClr val="0065A4"/>
      </a:dk2>
      <a:lt2>
        <a:srgbClr val="31A2B6"/>
      </a:lt2>
      <a:accent1>
        <a:srgbClr val="0065A4"/>
      </a:accent1>
      <a:accent2>
        <a:srgbClr val="31A2B6"/>
      </a:accent2>
      <a:accent3>
        <a:srgbClr val="CB3B2E"/>
      </a:accent3>
      <a:accent4>
        <a:srgbClr val="D96B29"/>
      </a:accent4>
      <a:accent5>
        <a:srgbClr val="864F83"/>
      </a:accent5>
      <a:accent6>
        <a:srgbClr val="5CA060"/>
      </a:accent6>
      <a:hlink>
        <a:srgbClr val="0065A4"/>
      </a:hlink>
      <a:folHlink>
        <a:srgbClr val="31A2B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noFill/>
        </a:ln>
      </a:spPr>
      <a:bodyPr spcFirstLastPara="1" wrap="square" lIns="91425" tIns="91425" rIns="91425" bIns="91425" anchor="t" anchorCtr="0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2D0CD61F-64F4-8042-8B52-057EC0C08E7D}" vid="{CE445F00-00A9-B14A-A85E-C5DFAB001E1E}"/>
    </a:ext>
  </a:extLst>
</a:theme>
</file>

<file path=ppt/theme/theme7.xml><?xml version="1.0" encoding="utf-8"?>
<a:theme xmlns:a="http://schemas.openxmlformats.org/drawingml/2006/main" name="3_Savon">
  <a:themeElements>
    <a:clrScheme name="Custom 5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77B129"/>
      </a:hlink>
      <a:folHlink>
        <a:srgbClr val="B26B02"/>
      </a:folHlink>
    </a:clrScheme>
    <a:fontScheme name="Savon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hade val="100000"/>
                <a:satMod val="300000"/>
              </a:schemeClr>
            </a:gs>
            <a:gs pos="100000">
              <a:schemeClr val="phClr">
                <a:tint val="100000"/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ob_template01.potx" id="{E19EA466-CBF7-4861-A800-89F3022E63F3}" vid="{EE3D6314-B0EE-4E4C-B841-635E280CFCCE}"/>
    </a:ext>
  </a:extLst>
</a:theme>
</file>

<file path=ppt/theme/theme8.xml><?xml version="1.0" encoding="utf-8"?>
<a:theme xmlns:a="http://schemas.openxmlformats.org/drawingml/2006/main" name="CCRC 2018 Theme">
  <a:themeElements>
    <a:clrScheme name="CCRC Colors">
      <a:dk1>
        <a:srgbClr val="000000"/>
      </a:dk1>
      <a:lt1>
        <a:srgbClr val="FFFFFF"/>
      </a:lt1>
      <a:dk2>
        <a:srgbClr val="0065A4"/>
      </a:dk2>
      <a:lt2>
        <a:srgbClr val="31A2B6"/>
      </a:lt2>
      <a:accent1>
        <a:srgbClr val="0065A4"/>
      </a:accent1>
      <a:accent2>
        <a:srgbClr val="31A2B6"/>
      </a:accent2>
      <a:accent3>
        <a:srgbClr val="CB3B2E"/>
      </a:accent3>
      <a:accent4>
        <a:srgbClr val="D96B29"/>
      </a:accent4>
      <a:accent5>
        <a:srgbClr val="864F83"/>
      </a:accent5>
      <a:accent6>
        <a:srgbClr val="5CA060"/>
      </a:accent6>
      <a:hlink>
        <a:srgbClr val="0065A4"/>
      </a:hlink>
      <a:folHlink>
        <a:srgbClr val="31A2B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ln>
          <a:noFill/>
        </a:ln>
      </a:spPr>
      <a:bodyPr spcFirstLastPara="1" wrap="square" lIns="91425" tIns="91425" rIns="91425" bIns="91425" anchor="t" anchorCtr="0"/>
      <a:lstStyle>
        <a:defPPr algn="l"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CRC PowerPoint Template 2018.potx" id="{9B62C386-C4C1-224D-BD9F-7B871BB1274C}" vid="{EEFA916E-7339-4C4A-B1FC-FDCAD3B656DC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77249</TotalTime>
  <Words>835</Words>
  <Application>Microsoft Office PowerPoint</Application>
  <PresentationFormat>On-screen Show (4:3)</PresentationFormat>
  <Paragraphs>77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32" baseType="lpstr">
      <vt:lpstr>Arial</vt:lpstr>
      <vt:lpstr>Arial (null)</vt:lpstr>
      <vt:lpstr>Arial Black</vt:lpstr>
      <vt:lpstr>Calibri</vt:lpstr>
      <vt:lpstr>Century Gothic</vt:lpstr>
      <vt:lpstr>Helvetica</vt:lpstr>
      <vt:lpstr>Tahoma</vt:lpstr>
      <vt:lpstr>Wingdings</vt:lpstr>
      <vt:lpstr>Savon</vt:lpstr>
      <vt:lpstr>Family Feud Master</vt:lpstr>
      <vt:lpstr>41_AmericasCharities_PPT_TEMPLATE_160511</vt:lpstr>
      <vt:lpstr>CCRC2017</vt:lpstr>
      <vt:lpstr>3_CCRC2017</vt:lpstr>
      <vt:lpstr>3_CCRC 2018 Theme</vt:lpstr>
      <vt:lpstr>3_Savon</vt:lpstr>
      <vt:lpstr>CCRC 2018 Theme</vt:lpstr>
      <vt:lpstr>Image</vt:lpstr>
      <vt:lpstr>think-cell Slide</vt:lpstr>
      <vt:lpstr>Reducing Student Equity Gaps in Transfer-Level Math &amp; English Attainment   Advancing Equity through Guided Pathways Series Discussion Guide #8   Robert Vela, San Antonio College Kathy Booth, WestEd </vt:lpstr>
      <vt:lpstr>How to Use This Presentation</vt:lpstr>
      <vt:lpstr>Background</vt:lpstr>
      <vt:lpstr>Why Is Developmental Education Reform Needed?</vt:lpstr>
      <vt:lpstr>Why Is Developmental Education Reform Important to Equity?</vt:lpstr>
      <vt:lpstr>Emerging Approaches for Reducing Equity Gaps in Dev Ed (1)</vt:lpstr>
      <vt:lpstr>Emerging Approaches for Reducing Equity Gaps in Dev Ed (2)</vt:lpstr>
      <vt:lpstr>Emerging Approaches for Reducing Equity Gaps in Dev Ed (3)</vt:lpstr>
      <vt:lpstr>Discussion Questions (1) </vt:lpstr>
      <vt:lpstr>Discussion Questions (2) </vt:lpstr>
      <vt:lpstr>Discussion Questions (3) </vt:lpstr>
      <vt:lpstr>Research Tasks </vt:lpstr>
      <vt:lpstr>For More Information…</vt:lpstr>
      <vt:lpstr>Refe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eith</dc:creator>
  <cp:lastModifiedBy>Robert Johnstone</cp:lastModifiedBy>
  <cp:revision>682</cp:revision>
  <cp:lastPrinted>2014-07-14T16:09:47Z</cp:lastPrinted>
  <dcterms:created xsi:type="dcterms:W3CDTF">2013-06-11T18:27:20Z</dcterms:created>
  <dcterms:modified xsi:type="dcterms:W3CDTF">2020-06-23T01:28:10Z</dcterms:modified>
</cp:coreProperties>
</file>